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tags/tag29.xml" ContentType="application/vnd.openxmlformats-officedocument.presentationml.tags+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tags/tag30.xml" ContentType="application/vnd.openxmlformats-officedocument.presentationml.tags+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tags/tag31.xml" ContentType="application/vnd.openxmlformats-officedocument.presentationml.tags+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tags/tag32.xml" ContentType="application/vnd.openxmlformats-officedocument.presentationml.tags+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tags/tag33.xml" ContentType="application/vnd.openxmlformats-officedocument.presentationml.tags+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tags/tag34.xml" ContentType="application/vnd.openxmlformats-officedocument.presentationml.tags+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tags/tag35.xml" ContentType="application/vnd.openxmlformats-officedocument.presentationml.tags+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tags/tag36.xml" ContentType="application/vnd.openxmlformats-officedocument.presentationml.tags+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tags/tag37.xml" ContentType="application/vnd.openxmlformats-officedocument.presentationml.tags+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tags/tag38.xml" ContentType="application/vnd.openxmlformats-officedocument.presentationml.tags+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tags/tag39.xml" ContentType="application/vnd.openxmlformats-officedocument.presentationml.tags+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tags/tag40.xml" ContentType="application/vnd.openxmlformats-officedocument.presentationml.tags+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tags/tag41.xml" ContentType="application/vnd.openxmlformats-officedocument.presentationml.tags+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tags/tag42.xml" ContentType="application/vnd.openxmlformats-officedocument.presentationml.tags+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tags/tag43.xml" ContentType="application/vnd.openxmlformats-officedocument.presentationml.tags+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tags/tag44.xml" ContentType="application/vnd.openxmlformats-officedocument.presentationml.tags+xml"/>
  <Override PartName="/ppt/charts/chart49.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tags/tag45.xml" ContentType="application/vnd.openxmlformats-officedocument.presentationml.tags+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tags/tag46.xml" ContentType="application/vnd.openxmlformats-officedocument.presentationml.tags+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tags/tag47.xml" ContentType="application/vnd.openxmlformats-officedocument.presentationml.tags+xml"/>
  <Override PartName="/ppt/charts/chart58.xml" ContentType="application/vnd.openxmlformats-officedocument.drawingml.chart+xml"/>
  <Override PartName="/ppt/charts/chart59.xml" ContentType="application/vnd.openxmlformats-officedocument.drawingml.chart+xml"/>
  <Override PartName="/ppt/charts/chart60.xml" ContentType="application/vnd.openxmlformats-officedocument.drawingml.chart+xml"/>
  <Override PartName="/ppt/tags/tag48.xml" ContentType="application/vnd.openxmlformats-officedocument.presentationml.tags+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tags/tag49.xml" ContentType="application/vnd.openxmlformats-officedocument.presentationml.tags+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tags/tag50.xml" ContentType="application/vnd.openxmlformats-officedocument.presentationml.tags+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tags/tag51.xml" ContentType="application/vnd.openxmlformats-officedocument.presentationml.tags+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tags/tag52.xml" ContentType="application/vnd.openxmlformats-officedocument.presentationml.tags+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tags/tag53.xml" ContentType="application/vnd.openxmlformats-officedocument.presentationml.tags+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tags/tag54.xml" ContentType="application/vnd.openxmlformats-officedocument.presentationml.tags+xml"/>
  <Override PartName="/ppt/charts/chart79.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tags/tag55.xml" ContentType="application/vnd.openxmlformats-officedocument.presentationml.tags+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tags/tag56.xml" ContentType="application/vnd.openxmlformats-officedocument.presentationml.tags+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tags/tag57.xml" ContentType="application/vnd.openxmlformats-officedocument.presentationml.tags+xml"/>
  <Override PartName="/ppt/charts/chart88.xml" ContentType="application/vnd.openxmlformats-officedocument.drawingml.chart+xml"/>
  <Override PartName="/ppt/charts/chart89.xml" ContentType="application/vnd.openxmlformats-officedocument.drawingml.chart+xml"/>
  <Override PartName="/ppt/charts/chart90.xml" ContentType="application/vnd.openxmlformats-officedocument.drawingml.chart+xml"/>
  <Override PartName="/ppt/tags/tag58.xml" ContentType="application/vnd.openxmlformats-officedocument.presentationml.tags+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tags/tag59.xml" ContentType="application/vnd.openxmlformats-officedocument.presentationml.tags+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tags/tag60.xml" ContentType="application/vnd.openxmlformats-officedocument.presentationml.tags+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tags/tag61.xml" ContentType="application/vnd.openxmlformats-officedocument.presentationml.tags+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tags/tag62.xml" ContentType="application/vnd.openxmlformats-officedocument.presentationml.tags+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tags/tag63.xml" ContentType="application/vnd.openxmlformats-officedocument.presentationml.tags+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tags/tag64.xml" ContentType="application/vnd.openxmlformats-officedocument.presentationml.tags+xml"/>
  <Override PartName="/ppt/charts/chart109.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tags/tag65.xml" ContentType="application/vnd.openxmlformats-officedocument.presentationml.tags+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tags/tag66.xml" ContentType="application/vnd.openxmlformats-officedocument.presentationml.tags+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tags/tag67.xml" ContentType="application/vnd.openxmlformats-officedocument.presentationml.tags+xml"/>
  <Override PartName="/ppt/charts/chart118.xml" ContentType="application/vnd.openxmlformats-officedocument.drawingml.chart+xml"/>
  <Override PartName="/ppt/charts/chart119.xml" ContentType="application/vnd.openxmlformats-officedocument.drawingml.chart+xml"/>
  <Override PartName="/ppt/charts/chart120.xml" ContentType="application/vnd.openxmlformats-officedocument.drawingml.chart+xml"/>
  <Override PartName="/ppt/tags/tag68.xml" ContentType="application/vnd.openxmlformats-officedocument.presentationml.tags+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tags/tag69.xml" ContentType="application/vnd.openxmlformats-officedocument.presentationml.tags+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tags/tag70.xml" ContentType="application/vnd.openxmlformats-officedocument.presentationml.tags+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tags/tag71.xml" ContentType="application/vnd.openxmlformats-officedocument.presentationml.tags+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tags/tag72.xml" ContentType="application/vnd.openxmlformats-officedocument.presentationml.tags+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tags/tag73.xml" ContentType="application/vnd.openxmlformats-officedocument.presentationml.tags+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tags/tag74.xml" ContentType="application/vnd.openxmlformats-officedocument.presentationml.tags+xml"/>
  <Override PartName="/ppt/charts/chart139.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tags/tag75.xml" ContentType="application/vnd.openxmlformats-officedocument.presentationml.tags+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tags/tag76.xml" ContentType="application/vnd.openxmlformats-officedocument.presentationml.tags+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tags/tag77.xml" ContentType="application/vnd.openxmlformats-officedocument.presentationml.tags+xml"/>
  <Override PartName="/ppt/charts/chart148.xml" ContentType="application/vnd.openxmlformats-officedocument.drawingml.chart+xml"/>
  <Override PartName="/ppt/charts/chart149.xml" ContentType="application/vnd.openxmlformats-officedocument.drawingml.chart+xml"/>
  <Override PartName="/ppt/charts/chart150.xml" ContentType="application/vnd.openxmlformats-officedocument.drawingml.chart+xml"/>
  <Override PartName="/ppt/tags/tag78.xml" ContentType="application/vnd.openxmlformats-officedocument.presentationml.tags+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tags/tag79.xml" ContentType="application/vnd.openxmlformats-officedocument.presentationml.tags+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tags/tag80.xml" ContentType="application/vnd.openxmlformats-officedocument.presentationml.tags+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tags/tag81.xml" ContentType="application/vnd.openxmlformats-officedocument.presentationml.tags+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tags/tag82.xml" ContentType="application/vnd.openxmlformats-officedocument.presentationml.tags+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tags/tag83.xml" ContentType="application/vnd.openxmlformats-officedocument.presentationml.tags+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tags/tag84.xml" ContentType="application/vnd.openxmlformats-officedocument.presentationml.tags+xml"/>
  <Override PartName="/ppt/charts/chart169.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tags/tag85.xml" ContentType="application/vnd.openxmlformats-officedocument.presentationml.tags+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tags/tag86.xml" ContentType="application/vnd.openxmlformats-officedocument.presentationml.tags+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tags/tag87.xml" ContentType="application/vnd.openxmlformats-officedocument.presentationml.tags+xml"/>
  <Override PartName="/ppt/charts/chart178.xml" ContentType="application/vnd.openxmlformats-officedocument.drawingml.chart+xml"/>
  <Override PartName="/ppt/charts/chart179.xml" ContentType="application/vnd.openxmlformats-officedocument.drawingml.chart+xml"/>
  <Override PartName="/ppt/charts/chart180.xml" ContentType="application/vnd.openxmlformats-officedocument.drawingml.chart+xml"/>
  <Override PartName="/ppt/tags/tag88.xml" ContentType="application/vnd.openxmlformats-officedocument.presentationml.tags+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tags/tag89.xml" ContentType="application/vnd.openxmlformats-officedocument.presentationml.tags+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tags/tag90.xml" ContentType="application/vnd.openxmlformats-officedocument.presentationml.tags+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tags/tag91.xml" ContentType="application/vnd.openxmlformats-officedocument.presentationml.tags+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tags/tag92.xml" ContentType="application/vnd.openxmlformats-officedocument.presentationml.tags+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tags/tag93.xml" ContentType="application/vnd.openxmlformats-officedocument.presentationml.tags+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tags/tag94.xml" ContentType="application/vnd.openxmlformats-officedocument.presentationml.tags+xml"/>
  <Override PartName="/ppt/charts/chart199.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tags/tag95.xml" ContentType="application/vnd.openxmlformats-officedocument.presentationml.tags+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tags/tag96.xml" ContentType="application/vnd.openxmlformats-officedocument.presentationml.tags+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tags/tag97.xml" ContentType="application/vnd.openxmlformats-officedocument.presentationml.tags+xml"/>
  <Override PartName="/ppt/charts/chart208.xml" ContentType="application/vnd.openxmlformats-officedocument.drawingml.chart+xml"/>
  <Override PartName="/ppt/charts/chart209.xml" ContentType="application/vnd.openxmlformats-officedocument.drawingml.chart+xml"/>
  <Override PartName="/ppt/charts/chart210.xml" ContentType="application/vnd.openxmlformats-officedocument.drawingml.chart+xml"/>
  <Override PartName="/ppt/tags/tag98.xml" ContentType="application/vnd.openxmlformats-officedocument.presentationml.tags+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tags/tag99.xml" ContentType="application/vnd.openxmlformats-officedocument.presentationml.tags+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tags/tag100.xml" ContentType="application/vnd.openxmlformats-officedocument.presentationml.tags+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tags/tag101.xml" ContentType="application/vnd.openxmlformats-officedocument.presentationml.tags+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tags/tag102.xml" ContentType="application/vnd.openxmlformats-officedocument.presentationml.tags+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tags/tag103.xml" ContentType="application/vnd.openxmlformats-officedocument.presentationml.tags+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tags/tag104.xml" ContentType="application/vnd.openxmlformats-officedocument.presentationml.tags+xml"/>
  <Override PartName="/ppt/charts/chart229.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tags/tag105.xml" ContentType="application/vnd.openxmlformats-officedocument.presentationml.tags+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tags/tag106.xml" ContentType="application/vnd.openxmlformats-officedocument.presentationml.tags+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tags/tag107.xml" ContentType="application/vnd.openxmlformats-officedocument.presentationml.tags+xml"/>
  <Override PartName="/ppt/charts/chart238.xml" ContentType="application/vnd.openxmlformats-officedocument.drawingml.chart+xml"/>
  <Override PartName="/ppt/charts/chart239.xml" ContentType="application/vnd.openxmlformats-officedocument.drawingml.chart+xml"/>
  <Override PartName="/ppt/charts/chart240.xml" ContentType="application/vnd.openxmlformats-officedocument.drawingml.chart+xml"/>
  <Override PartName="/ppt/tags/tag108.xml" ContentType="application/vnd.openxmlformats-officedocument.presentationml.tags+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86"/>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 id="2147475198" r:id="rId30"/>
    <p:sldId id="2147475199" r:id="rId31"/>
    <p:sldId id="2147475200" r:id="rId32"/>
    <p:sldId id="2147475201" r:id="rId33"/>
    <p:sldId id="2147475202" r:id="rId34"/>
    <p:sldId id="2147475203" r:id="rId35"/>
    <p:sldId id="2147475204" r:id="rId36"/>
    <p:sldId id="2147475205" r:id="rId37"/>
    <p:sldId id="2147475206" r:id="rId38"/>
    <p:sldId id="2147475207" r:id="rId39"/>
    <p:sldId id="2147475208" r:id="rId40"/>
    <p:sldId id="2147475209" r:id="rId41"/>
    <p:sldId id="2147475210" r:id="rId42"/>
    <p:sldId id="2147475211" r:id="rId43"/>
    <p:sldId id="2147475212" r:id="rId44"/>
    <p:sldId id="2147475213" r:id="rId45"/>
    <p:sldId id="2147475214" r:id="rId46"/>
    <p:sldId id="2147475215" r:id="rId47"/>
    <p:sldId id="2147475216" r:id="rId48"/>
    <p:sldId id="2147475217" r:id="rId49"/>
    <p:sldId id="2147475218" r:id="rId50"/>
    <p:sldId id="2147475219" r:id="rId51"/>
    <p:sldId id="2147475220" r:id="rId52"/>
    <p:sldId id="2147475221" r:id="rId53"/>
    <p:sldId id="2147475222" r:id="rId54"/>
    <p:sldId id="2147475223" r:id="rId55"/>
    <p:sldId id="2147475224" r:id="rId56"/>
    <p:sldId id="2147475225" r:id="rId57"/>
    <p:sldId id="2147475226" r:id="rId58"/>
    <p:sldId id="2147475227" r:id="rId59"/>
    <p:sldId id="2147475228" r:id="rId60"/>
    <p:sldId id="2147475229" r:id="rId61"/>
    <p:sldId id="2147475230" r:id="rId62"/>
    <p:sldId id="2147475231" r:id="rId63"/>
    <p:sldId id="2147475232" r:id="rId64"/>
    <p:sldId id="2147475233" r:id="rId65"/>
    <p:sldId id="2147475234" r:id="rId66"/>
    <p:sldId id="2147475235" r:id="rId67"/>
    <p:sldId id="2147475236" r:id="rId68"/>
    <p:sldId id="2147475237" r:id="rId69"/>
    <p:sldId id="2147475238" r:id="rId70"/>
    <p:sldId id="2147475239" r:id="rId71"/>
    <p:sldId id="2147475240" r:id="rId72"/>
    <p:sldId id="2147475241" r:id="rId73"/>
    <p:sldId id="2147475242" r:id="rId74"/>
    <p:sldId id="2147475243" r:id="rId75"/>
    <p:sldId id="2147475244" r:id="rId76"/>
    <p:sldId id="2147475245" r:id="rId77"/>
    <p:sldId id="2147475246" r:id="rId78"/>
    <p:sldId id="2147475247" r:id="rId79"/>
    <p:sldId id="2147475248" r:id="rId80"/>
    <p:sldId id="2147475249" r:id="rId81"/>
    <p:sldId id="2147475250" r:id="rId82"/>
    <p:sldId id="2147475251" r:id="rId83"/>
    <p:sldId id="2147475252" r:id="rId84"/>
    <p:sldId id="2147475253" r:id="rId85"/>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nd Share Topline By Base Price Bracket" id="{1BB4AEC8-F39E-4DAD-901D-6B0AEF8EF03E}">
          <p14:sldIdLst>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 id="2147475207"/>
            <p14:sldId id="2147475208"/>
            <p14:sldId id="2147475209"/>
            <p14:sldId id="2147475210"/>
            <p14:sldId id="2147475211"/>
            <p14:sldId id="2147475212"/>
            <p14:sldId id="2147475213"/>
            <p14:sldId id="2147475214"/>
            <p14:sldId id="2147475215"/>
            <p14:sldId id="2147475216"/>
            <p14:sldId id="2147475217"/>
            <p14:sldId id="2147475218"/>
            <p14:sldId id="2147475219"/>
            <p14:sldId id="2147475220"/>
            <p14:sldId id="2147475221"/>
            <p14:sldId id="2147475222"/>
            <p14:sldId id="2147475223"/>
            <p14:sldId id="2147475224"/>
            <p14:sldId id="2147475225"/>
            <p14:sldId id="2147475226"/>
            <p14:sldId id="2147475227"/>
            <p14:sldId id="2147475228"/>
            <p14:sldId id="2147475229"/>
            <p14:sldId id="2147475230"/>
            <p14:sldId id="2147475231"/>
            <p14:sldId id="2147475232"/>
            <p14:sldId id="2147475233"/>
            <p14:sldId id="2147475234"/>
            <p14:sldId id="2147475235"/>
            <p14:sldId id="2147475236"/>
            <p14:sldId id="2147475237"/>
            <p14:sldId id="2147475238"/>
            <p14:sldId id="2147475239"/>
            <p14:sldId id="2147475240"/>
            <p14:sldId id="2147475241"/>
            <p14:sldId id="2147475242"/>
            <p14:sldId id="2147475243"/>
            <p14:sldId id="2147475244"/>
            <p14:sldId id="2147475245"/>
            <p14:sldId id="2147475246"/>
            <p14:sldId id="2147475247"/>
            <p14:sldId id="2147475248"/>
            <p14:sldId id="2147475249"/>
            <p14:sldId id="2147475250"/>
            <p14:sldId id="2147475251"/>
            <p14:sldId id="2147475252"/>
            <p14:sldId id="2147475253"/>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51" d="100"/>
          <a:sy n="51" d="100"/>
        </p:scale>
        <p:origin x="66" y="420"/>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theme" Target="theme/theme1.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5" Type="http://schemas.openxmlformats.org/officeDocument/2006/relationships/slide" Target="slides/slide1.xml"/><Relationship Id="rId90" Type="http://schemas.openxmlformats.org/officeDocument/2006/relationships/tableStyles" Target="tableStyles.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slide" Target="slides/slide73.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slide" Target="slides/slide76.xml"/><Relationship Id="rId85" Type="http://schemas.openxmlformats.org/officeDocument/2006/relationships/slide" Target="slides/slide8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viewProps" Target="viewProps.xml"/><Relationship Id="rId91"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7" Type="http://schemas.openxmlformats.org/officeDocument/2006/relationships/slide" Target="slides/slide3.xml"/><Relationship Id="rId71" Type="http://schemas.openxmlformats.org/officeDocument/2006/relationships/slide" Target="slides/slide67.xml"/><Relationship Id="rId92" Type="http://schemas.microsoft.com/office/2018/10/relationships/authors" Target="authors.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presProps" Target="presProps.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0.1754</c:v>
                </c:pt>
                <c:pt idx="3">
                  <c:v>4.2099999999999999E-2</c:v>
                </c:pt>
                <c:pt idx="4">
                  <c:v>2.8899999999999999E-2</c:v>
                </c:pt>
                <c:pt idx="5">
                  <c:v>0.1154</c:v>
                </c:pt>
                <c:pt idx="6">
                  <c:v>8.8200000000000001E-2</c:v>
                </c:pt>
                <c:pt idx="7">
                  <c:v>0.25259999999999999</c:v>
                </c:pt>
                <c:pt idx="8">
                  <c:v>0.2974</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0.1754</c:v>
                </c:pt>
                <c:pt idx="3">
                  <c:v>4.2099999999999999E-2</c:v>
                </c:pt>
                <c:pt idx="4">
                  <c:v>2.8899999999999999E-2</c:v>
                </c:pt>
                <c:pt idx="5">
                  <c:v>0.1154</c:v>
                </c:pt>
                <c:pt idx="6">
                  <c:v>8.8200000000000001E-2</c:v>
                </c:pt>
                <c:pt idx="7">
                  <c:v>0.25259999999999999</c:v>
                </c:pt>
                <c:pt idx="8">
                  <c:v>0.2974</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0195170591014295E-2</c:v>
                </c:pt>
                <c:pt idx="1">
                  <c:v>6.5559309181143974E-4</c:v>
                </c:pt>
                <c:pt idx="2">
                  <c:v>1.8509581616242188E-3</c:v>
                </c:pt>
                <c:pt idx="3">
                  <c:v>0.14860049297530936</c:v>
                </c:pt>
                <c:pt idx="4">
                  <c:v>0.35490978902863579</c:v>
                </c:pt>
                <c:pt idx="5">
                  <c:v>9.2347322437613608E-2</c:v>
                </c:pt>
                <c:pt idx="6">
                  <c:v>2.4790528801785793E-2</c:v>
                </c:pt>
                <c:pt idx="7">
                  <c:v>0.12812039009766801</c:v>
                </c:pt>
                <c:pt idx="8">
                  <c:v>0.22102038676692062</c:v>
                </c:pt>
                <c:pt idx="9">
                  <c:v>7.4387689291660385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2">
                  <c:v>8.139294344834435E-6</c:v>
                </c:pt>
                <c:pt idx="3">
                  <c:v>0.14599777078309215</c:v>
                </c:pt>
                <c:pt idx="4">
                  <c:v>0.3510318236626534</c:v>
                </c:pt>
                <c:pt idx="5">
                  <c:v>3.7263721959881675E-3</c:v>
                </c:pt>
                <c:pt idx="6">
                  <c:v>1.0554014983310694E-3</c:v>
                </c:pt>
                <c:pt idx="7">
                  <c:v>2.148157798940302E-2</c:v>
                </c:pt>
                <c:pt idx="8">
                  <c:v>7.4162946944252003E-2</c:v>
                </c:pt>
                <c:pt idx="9">
                  <c:v>6.312739820105259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2">
                  <c:v>3.7673915802067669E-4</c:v>
                </c:pt>
                <c:pt idx="4">
                  <c:v>1.6905418825910495E-6</c:v>
                </c:pt>
                <c:pt idx="5">
                  <c:v>2.1511670584655771E-6</c:v>
                </c:pt>
                <c:pt idx="6">
                  <c:v>1.2273239093347952E-3</c:v>
                </c:pt>
                <c:pt idx="7">
                  <c:v>3.1593521019129306E-3</c:v>
                </c:pt>
                <c:pt idx="8">
                  <c:v>0.1403805132452864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5">
                  <c:v>8.4379100484128458E-2</c:v>
                </c:pt>
                <c:pt idx="6">
                  <c:v>2.7918017038439779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0195170591014295E-2</c:v>
                </c:pt>
                <c:pt idx="1">
                  <c:v>6.5559309181143974E-4</c:v>
                </c:pt>
                <c:pt idx="2">
                  <c:v>1.4660797092587077E-3</c:v>
                </c:pt>
                <c:pt idx="3">
                  <c:v>2.6027221922172144E-3</c:v>
                </c:pt>
                <c:pt idx="4">
                  <c:v>3.8762748240998295E-3</c:v>
                </c:pt>
                <c:pt idx="5">
                  <c:v>4.2396985904385245E-3</c:v>
                </c:pt>
                <c:pt idx="6">
                  <c:v>1.9716001690275955E-2</c:v>
                </c:pt>
                <c:pt idx="7">
                  <c:v>0.10347946000635207</c:v>
                </c:pt>
                <c:pt idx="8">
                  <c:v>6.4769265773821855E-3</c:v>
                </c:pt>
                <c:pt idx="9">
                  <c:v>1.126029109060779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5229844271682886E-2</c:v>
                </c:pt>
                <c:pt idx="1">
                  <c:v>1.2590592051960471E-3</c:v>
                </c:pt>
                <c:pt idx="2">
                  <c:v>3.2731555461713205E-2</c:v>
                </c:pt>
                <c:pt idx="3">
                  <c:v>0.14152197984434281</c:v>
                </c:pt>
                <c:pt idx="4">
                  <c:v>0.32430501393489058</c:v>
                </c:pt>
                <c:pt idx="5">
                  <c:v>7.999615168178828E-2</c:v>
                </c:pt>
                <c:pt idx="6">
                  <c:v>9.6445642492324651E-2</c:v>
                </c:pt>
                <c:pt idx="7">
                  <c:v>0.11128880451125545</c:v>
                </c:pt>
                <c:pt idx="8">
                  <c:v>0.17753774739433337</c:v>
                </c:pt>
                <c:pt idx="9">
                  <c:v>9.2913757652238228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7.6306696888571608E-4</c:v>
                </c:pt>
                <c:pt idx="1">
                  <c:v>1.1067148522188636E-3</c:v>
                </c:pt>
                <c:pt idx="2">
                  <c:v>3.1917241394296705E-2</c:v>
                </c:pt>
                <c:pt idx="3">
                  <c:v>0.13974770750722393</c:v>
                </c:pt>
                <c:pt idx="4">
                  <c:v>0.31695016280460753</c:v>
                </c:pt>
                <c:pt idx="5">
                  <c:v>1.0432005279822222E-2</c:v>
                </c:pt>
                <c:pt idx="6">
                  <c:v>4.9663120821023532E-3</c:v>
                </c:pt>
                <c:pt idx="7">
                  <c:v>3.5720986788880867E-2</c:v>
                </c:pt>
                <c:pt idx="8">
                  <c:v>6.5527654846109049E-2</c:v>
                </c:pt>
                <c:pt idx="9">
                  <c:v>4.3644367694232649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5">
                  <c:v>8.0194853834143125E-7</c:v>
                </c:pt>
                <c:pt idx="6">
                  <c:v>2.8578858975719765E-3</c:v>
                </c:pt>
                <c:pt idx="7">
                  <c:v>3.9156353241981738E-2</c:v>
                </c:pt>
                <c:pt idx="8">
                  <c:v>0.1058370807396873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4">
                  <c:v>2.6462490913729043E-3</c:v>
                </c:pt>
                <c:pt idx="5">
                  <c:v>6.3878383003740671E-2</c:v>
                </c:pt>
                <c:pt idx="6">
                  <c:v>2.866358095839938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4466777302797171E-2</c:v>
                </c:pt>
                <c:pt idx="1">
                  <c:v>1.5234435297718351E-4</c:v>
                </c:pt>
                <c:pt idx="2">
                  <c:v>8.143140674165023E-4</c:v>
                </c:pt>
                <c:pt idx="3">
                  <c:v>1.7742723371188839E-3</c:v>
                </c:pt>
                <c:pt idx="4">
                  <c:v>4.7086020389101807E-3</c:v>
                </c:pt>
                <c:pt idx="5">
                  <c:v>5.6849614496870295E-3</c:v>
                </c:pt>
                <c:pt idx="6">
                  <c:v>5.9957863554250923E-2</c:v>
                </c:pt>
                <c:pt idx="7">
                  <c:v>3.6411464480392841E-2</c:v>
                </c:pt>
                <c:pt idx="8">
                  <c:v>6.1730118085370107E-3</c:v>
                </c:pt>
                <c:pt idx="9">
                  <c:v>4.926938995800558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3.0096130298614627E-3</c:v>
                </c:pt>
                <c:pt idx="3">
                  <c:v>0.26864620226306141</c:v>
                </c:pt>
                <c:pt idx="4">
                  <c:v>0.24445258049451576</c:v>
                </c:pt>
                <c:pt idx="5">
                  <c:v>9.7099623144768832E-2</c:v>
                </c:pt>
                <c:pt idx="6">
                  <c:v>2.9819821017562358E-2</c:v>
                </c:pt>
                <c:pt idx="7">
                  <c:v>0.16448722706132768</c:v>
                </c:pt>
                <c:pt idx="8">
                  <c:v>0.19228241457022868</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2">
                  <c:v>3.0064925207559088E-3</c:v>
                </c:pt>
                <c:pt idx="3">
                  <c:v>0.26852109344841774</c:v>
                </c:pt>
                <c:pt idx="4">
                  <c:v>0.24392545046056749</c:v>
                </c:pt>
                <c:pt idx="5">
                  <c:v>2.5698310281031214E-6</c:v>
                </c:pt>
                <c:pt idx="6">
                  <c:v>6.3813100070295365E-4</c:v>
                </c:pt>
                <c:pt idx="7">
                  <c:v>2.9943015570317748E-2</c:v>
                </c:pt>
                <c:pt idx="8">
                  <c:v>6.4196109784545111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4">
                  <c:v>2.5776978577809882E-5</c:v>
                </c:pt>
                <c:pt idx="6">
                  <c:v>8.9463160462635669E-3</c:v>
                </c:pt>
                <c:pt idx="7">
                  <c:v>6.4434317387190906E-3</c:v>
                </c:pt>
                <c:pt idx="8">
                  <c:v>0.10863323458102039</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5">
                  <c:v>9.709188742891893E-2</c:v>
                </c:pt>
                <c:pt idx="6">
                  <c:v>1.503311817291936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2">
                  <c:v>3.1205091055537905E-6</c:v>
                </c:pt>
                <c:pt idx="3">
                  <c:v>1.251088146436734E-4</c:v>
                </c:pt>
                <c:pt idx="4">
                  <c:v>5.0135305537044462E-4</c:v>
                </c:pt>
                <c:pt idx="5">
                  <c:v>5.1658848217991322E-6</c:v>
                </c:pt>
                <c:pt idx="6">
                  <c:v>5.2022557976764694E-3</c:v>
                </c:pt>
                <c:pt idx="7">
                  <c:v>0.12810077975229084</c:v>
                </c:pt>
                <c:pt idx="8">
                  <c:v>1.9453070204663178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3">
                  <c:v>0.3105</c:v>
                </c:pt>
                <c:pt idx="4">
                  <c:v>5.1999999999999998E-2</c:v>
                </c:pt>
                <c:pt idx="5">
                  <c:v>0.23300000000000001</c:v>
                </c:pt>
                <c:pt idx="6">
                  <c:v>8.7800000000000003E-2</c:v>
                </c:pt>
                <c:pt idx="7">
                  <c:v>0.22320000000000001</c:v>
                </c:pt>
                <c:pt idx="8">
                  <c:v>9.3200000000000005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87891005521236E-2</c:v>
                </c:pt>
                <c:pt idx="1">
                  <c:v>1.6251035103638078E-2</c:v>
                </c:pt>
                <c:pt idx="2">
                  <c:v>2.1266939372631518E-2</c:v>
                </c:pt>
                <c:pt idx="3">
                  <c:v>3.9450724674471832E-2</c:v>
                </c:pt>
                <c:pt idx="4">
                  <c:v>5.1534564696052484E-2</c:v>
                </c:pt>
                <c:pt idx="5">
                  <c:v>0.10248226676541282</c:v>
                </c:pt>
                <c:pt idx="6">
                  <c:v>0.13074905745117735</c:v>
                </c:pt>
                <c:pt idx="7">
                  <c:v>0.17785855434784298</c:v>
                </c:pt>
                <c:pt idx="8">
                  <c:v>0.25638873725251132</c:v>
                </c:pt>
                <c:pt idx="9">
                  <c:v>0.10346326897165924</c:v>
                </c:pt>
                <c:pt idx="10">
                  <c:v>8.1765750812478777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8452095700271858E-2</c:v>
                </c:pt>
                <c:pt idx="1">
                  <c:v>6.9038415366902443E-3</c:v>
                </c:pt>
                <c:pt idx="2">
                  <c:v>3.8993138108884502E-2</c:v>
                </c:pt>
                <c:pt idx="3">
                  <c:v>9.2885754275378318E-2</c:v>
                </c:pt>
                <c:pt idx="4">
                  <c:v>0.12661389106941554</c:v>
                </c:pt>
                <c:pt idx="5">
                  <c:v>0.14139828617238459</c:v>
                </c:pt>
                <c:pt idx="6">
                  <c:v>8.327672553420401E-2</c:v>
                </c:pt>
                <c:pt idx="7">
                  <c:v>0.25943750265456544</c:v>
                </c:pt>
                <c:pt idx="8">
                  <c:v>0.16769832304927204</c:v>
                </c:pt>
                <c:pt idx="9">
                  <c:v>5.0813195599909045E-2</c:v>
                </c:pt>
                <c:pt idx="10">
                  <c:v>3.5272462990244605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2">
                  <c:v>7.4054053967207621E-7</c:v>
                </c:pt>
                <c:pt idx="3">
                  <c:v>8.2060798596221757E-2</c:v>
                </c:pt>
                <c:pt idx="4">
                  <c:v>1.3735802625934962E-2</c:v>
                </c:pt>
                <c:pt idx="5">
                  <c:v>6.1588706809217263E-2</c:v>
                </c:pt>
                <c:pt idx="6">
                  <c:v>2.3195070431785789E-2</c:v>
                </c:pt>
                <c:pt idx="7">
                  <c:v>5.9000565638160689E-2</c:v>
                </c:pt>
                <c:pt idx="8">
                  <c:v>2.4630784631086092E-2</c:v>
                </c:pt>
                <c:pt idx="9">
                  <c:v>3.3171045320672899E-5</c:v>
                </c:pt>
                <c:pt idx="10">
                  <c:v>5.6986533599004805E-5</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Mini Baby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2.8448348675945187E-2</c:v>
                </c:pt>
                <c:pt idx="1">
                  <c:v>6.9038415366902443E-3</c:v>
                </c:pt>
                <c:pt idx="2">
                  <c:v>1.7361982186284391E-3</c:v>
                </c:pt>
                <c:pt idx="3">
                  <c:v>1.8755435712991535E-3</c:v>
                </c:pt>
                <c:pt idx="4">
                  <c:v>0.10477416679766324</c:v>
                </c:pt>
                <c:pt idx="5">
                  <c:v>5.0671865007636957E-3</c:v>
                </c:pt>
                <c:pt idx="6">
                  <c:v>2.6783593228682716E-2</c:v>
                </c:pt>
                <c:pt idx="7">
                  <c:v>6.6655607066131453E-2</c:v>
                </c:pt>
                <c:pt idx="8">
                  <c:v>4.4421204234486155E-3</c:v>
                </c:pt>
                <c:pt idx="10">
                  <c:v>2.5859269363756062E-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4">
                  <c:v>1.9236787063778384E-3</c:v>
                </c:pt>
                <c:pt idx="5">
                  <c:v>9.3823032982912943E-3</c:v>
                </c:pt>
                <c:pt idx="6">
                  <c:v>5.4704191349204496E-3</c:v>
                </c:pt>
                <c:pt idx="7">
                  <c:v>6.9353981666997425E-2</c:v>
                </c:pt>
                <c:pt idx="8">
                  <c:v>4.7075678262511508E-2</c:v>
                </c:pt>
                <c:pt idx="9">
                  <c:v>4.8835529456781143E-2</c:v>
                </c:pt>
                <c:pt idx="10">
                  <c:v>3.2116670717878947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Kiri</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2">
                  <c:v>3.7256199349716392E-2</c:v>
                </c:pt>
                <c:pt idx="3">
                  <c:v>8.9490464544238445E-3</c:v>
                </c:pt>
                <c:pt idx="4">
                  <c:v>6.129297074432178E-3</c:v>
                </c:pt>
                <c:pt idx="5">
                  <c:v>2.4515893736835173E-2</c:v>
                </c:pt>
                <c:pt idx="6">
                  <c:v>1.5661540441294683E-2</c:v>
                </c:pt>
                <c:pt idx="7">
                  <c:v>5.1338440136598447E-2</c:v>
                </c:pt>
                <c:pt idx="8">
                  <c:v>5.778867381508910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3.7470243266699317E-6</c:v>
                </c:pt>
                <c:pt idx="3">
                  <c:v>3.6565343355379327E-7</c:v>
                </c:pt>
                <c:pt idx="4">
                  <c:v>5.0945865007315628E-5</c:v>
                </c:pt>
                <c:pt idx="5">
                  <c:v>4.0844195827277142E-2</c:v>
                </c:pt>
                <c:pt idx="6">
                  <c:v>1.2166102297520376E-2</c:v>
                </c:pt>
                <c:pt idx="7">
                  <c:v>1.3088908146677429E-2</c:v>
                </c:pt>
                <c:pt idx="8">
                  <c:v>3.3761065917136714E-2</c:v>
                </c:pt>
                <c:pt idx="9">
                  <c:v>1.944495097807224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3">
                  <c:v>0.41799999999999998</c:v>
                </c:pt>
                <c:pt idx="4">
                  <c:v>0.10249999999999999</c:v>
                </c:pt>
                <c:pt idx="5">
                  <c:v>0.1429</c:v>
                </c:pt>
                <c:pt idx="6">
                  <c:v>7.1800000000000003E-2</c:v>
                </c:pt>
                <c:pt idx="7">
                  <c:v>0.1661</c:v>
                </c:pt>
                <c:pt idx="8">
                  <c:v>5.1700000000000003E-2</c:v>
                </c:pt>
                <c:pt idx="9">
                  <c:v>4.6300000000000001E-2</c:v>
                </c:pt>
                <c:pt idx="10">
                  <c:v>5.0000000000000001E-4</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8613377585847987E-2</c:v>
                </c:pt>
                <c:pt idx="1">
                  <c:v>1.56302030123537E-2</c:v>
                </c:pt>
                <c:pt idx="2">
                  <c:v>3.5294981321742719E-2</c:v>
                </c:pt>
                <c:pt idx="3">
                  <c:v>0.17153808610810198</c:v>
                </c:pt>
                <c:pt idx="4">
                  <c:v>0.13353047605469773</c:v>
                </c:pt>
                <c:pt idx="5">
                  <c:v>0.12917153792881839</c:v>
                </c:pt>
                <c:pt idx="6">
                  <c:v>7.2507313656684891E-2</c:v>
                </c:pt>
                <c:pt idx="7">
                  <c:v>0.21110141717184974</c:v>
                </c:pt>
                <c:pt idx="8">
                  <c:v>0.1733531988133058</c:v>
                </c:pt>
                <c:pt idx="9">
                  <c:v>1.9940538619508948E-2</c:v>
                </c:pt>
                <c:pt idx="10">
                  <c:v>9.3188697270881003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2.0856614831110494E-5</c:v>
                </c:pt>
                <c:pt idx="1">
                  <c:v>5.0857004490138715E-6</c:v>
                </c:pt>
                <c:pt idx="2">
                  <c:v>3.5264351773265254E-5</c:v>
                </c:pt>
                <c:pt idx="3">
                  <c:v>0.13356059179014013</c:v>
                </c:pt>
                <c:pt idx="4">
                  <c:v>3.2745011116607166E-2</c:v>
                </c:pt>
                <c:pt idx="5">
                  <c:v>4.5656346239016515E-2</c:v>
                </c:pt>
                <c:pt idx="6">
                  <c:v>2.2933793156152984E-2</c:v>
                </c:pt>
                <c:pt idx="7">
                  <c:v>5.3053670560782258E-2</c:v>
                </c:pt>
                <c:pt idx="8">
                  <c:v>1.6505258068993306E-2</c:v>
                </c:pt>
                <c:pt idx="9">
                  <c:v>1.4804683726685523E-2</c:v>
                </c:pt>
                <c:pt idx="10">
                  <c:v>1.6951635764692421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Mini Baby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2.8591776466415062E-2</c:v>
                </c:pt>
                <c:pt idx="1">
                  <c:v>1.5611160472115745E-2</c:v>
                </c:pt>
                <c:pt idx="2">
                  <c:v>4.5091497937806138E-3</c:v>
                </c:pt>
                <c:pt idx="3">
                  <c:v>2.2503123458954121E-3</c:v>
                </c:pt>
                <c:pt idx="4">
                  <c:v>9.2942297705621374E-2</c:v>
                </c:pt>
                <c:pt idx="5">
                  <c:v>5.9604618982048718E-3</c:v>
                </c:pt>
                <c:pt idx="6">
                  <c:v>3.4556862681935428E-3</c:v>
                </c:pt>
                <c:pt idx="7">
                  <c:v>3.8628411545534092E-2</c:v>
                </c:pt>
                <c:pt idx="8">
                  <c:v>4.4743153671999457E-2</c:v>
                </c:pt>
                <c:pt idx="10">
                  <c:v>4.3540936029773809E-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Kir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4.9284107444051948E-7</c:v>
                </c:pt>
                <c:pt idx="1">
                  <c:v>1.3956839788943221E-5</c:v>
                </c:pt>
                <c:pt idx="2">
                  <c:v>3.0743646429186058E-2</c:v>
                </c:pt>
                <c:pt idx="3">
                  <c:v>3.564450001734381E-2</c:v>
                </c:pt>
                <c:pt idx="4">
                  <c:v>6.3327037131317649E-3</c:v>
                </c:pt>
                <c:pt idx="5">
                  <c:v>2.5358413952695731E-2</c:v>
                </c:pt>
                <c:pt idx="6">
                  <c:v>1.714739853104838E-2</c:v>
                </c:pt>
                <c:pt idx="7">
                  <c:v>5.4161420006419936E-2</c:v>
                </c:pt>
                <c:pt idx="8">
                  <c:v>5.3248888056162243E-2</c:v>
                </c:pt>
                <c:pt idx="9">
                  <c:v>3.4603735013908812E-7</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4">
                  <c:v>4.1209902607473226E-6</c:v>
                </c:pt>
                <c:pt idx="5">
                  <c:v>2.1621063767469275E-2</c:v>
                </c:pt>
                <c:pt idx="6">
                  <c:v>8.9742060403692619E-3</c:v>
                </c:pt>
                <c:pt idx="7">
                  <c:v>3.1776012162394951E-2</c:v>
                </c:pt>
                <c:pt idx="8">
                  <c:v>3.6309541860389913E-2</c:v>
                </c:pt>
                <c:pt idx="9">
                  <c:v>5.1323840333417263E-3</c:v>
                </c:pt>
                <c:pt idx="10">
                  <c:v>8.713944009143439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516635273738823E-7</c:v>
                </c:pt>
                <c:pt idx="2">
                  <c:v>6.9207470027817628E-6</c:v>
                </c:pt>
                <c:pt idx="3">
                  <c:v>8.2681954722627565E-5</c:v>
                </c:pt>
                <c:pt idx="4">
                  <c:v>1.5063425290766795E-3</c:v>
                </c:pt>
                <c:pt idx="5">
                  <c:v>3.0575252071432007E-2</c:v>
                </c:pt>
                <c:pt idx="6">
                  <c:v>1.9996229660920725E-2</c:v>
                </c:pt>
                <c:pt idx="7">
                  <c:v>3.3481902896718506E-2</c:v>
                </c:pt>
                <c:pt idx="8">
                  <c:v>2.254635715576089E-2</c:v>
                </c:pt>
                <c:pt idx="9">
                  <c:v>3.1248221315590384E-6</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3299999999999999E-2</c:v>
                </c:pt>
                <c:pt idx="2">
                  <c:v>5.3400000000000003E-2</c:v>
                </c:pt>
                <c:pt idx="3">
                  <c:v>0.26860000000000001</c:v>
                </c:pt>
                <c:pt idx="4">
                  <c:v>0.15590000000000001</c:v>
                </c:pt>
                <c:pt idx="5">
                  <c:v>0.1182</c:v>
                </c:pt>
                <c:pt idx="6">
                  <c:v>3.5499999999999997E-2</c:v>
                </c:pt>
                <c:pt idx="7">
                  <c:v>0.30740000000000001</c:v>
                </c:pt>
                <c:pt idx="8">
                  <c:v>4.7600000000000003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9437627523840919E-2</c:v>
                </c:pt>
                <c:pt idx="1">
                  <c:v>1.7339094554510329E-2</c:v>
                </c:pt>
                <c:pt idx="2">
                  <c:v>4.8088716519655232E-2</c:v>
                </c:pt>
                <c:pt idx="3">
                  <c:v>0.20562364600569663</c:v>
                </c:pt>
                <c:pt idx="4">
                  <c:v>6.6748547419724566E-2</c:v>
                </c:pt>
                <c:pt idx="5">
                  <c:v>0.12200576981432011</c:v>
                </c:pt>
                <c:pt idx="6">
                  <c:v>4.6184937163428488E-2</c:v>
                </c:pt>
                <c:pt idx="7">
                  <c:v>0.2232454479683828</c:v>
                </c:pt>
                <c:pt idx="8">
                  <c:v>0.15135974545254935</c:v>
                </c:pt>
                <c:pt idx="9">
                  <c:v>8.9599780134545004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3.9433076220715705E-3</c:v>
                </c:pt>
                <c:pt idx="2">
                  <c:v>1.5808316239147732E-2</c:v>
                </c:pt>
                <c:pt idx="3">
                  <c:v>7.9539672848540577E-2</c:v>
                </c:pt>
                <c:pt idx="4">
                  <c:v>4.6158947718345923E-2</c:v>
                </c:pt>
                <c:pt idx="5">
                  <c:v>3.5006207408320195E-2</c:v>
                </c:pt>
                <c:pt idx="6">
                  <c:v>1.0506928851688921E-2</c:v>
                </c:pt>
                <c:pt idx="7">
                  <c:v>9.1024631772222628E-2</c:v>
                </c:pt>
                <c:pt idx="8">
                  <c:v>1.4093734792729056E-2</c:v>
                </c:pt>
                <c:pt idx="9">
                  <c:v>1.3257242188576946E-6</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Mini Baby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2.4747136481628206E-2</c:v>
                </c:pt>
                <c:pt idx="2">
                  <c:v>1.3625819773384115E-3</c:v>
                </c:pt>
                <c:pt idx="3">
                  <c:v>0.12608331685803781</c:v>
                </c:pt>
                <c:pt idx="4">
                  <c:v>1.1732619958943502E-2</c:v>
                </c:pt>
                <c:pt idx="5">
                  <c:v>6.2114905007134369E-3</c:v>
                </c:pt>
                <c:pt idx="6">
                  <c:v>2.029408133441467E-3</c:v>
                </c:pt>
                <c:pt idx="7">
                  <c:v>3.6855776457379794E-2</c:v>
                </c:pt>
                <c:pt idx="8">
                  <c:v>4.4124971743041461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5">
                  <c:v>1.4569840425069714E-6</c:v>
                </c:pt>
                <c:pt idx="6">
                  <c:v>5.9329440289473069E-6</c:v>
                </c:pt>
                <c:pt idx="7">
                  <c:v>4.9444538616075701E-2</c:v>
                </c:pt>
                <c:pt idx="8">
                  <c:v>8.8206601492313936E-6</c:v>
                </c:pt>
                <c:pt idx="9">
                  <c:v>8.9598454410326142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Kiri</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7.4718342014114258E-4</c:v>
                </c:pt>
                <c:pt idx="1">
                  <c:v>1.7339094554510329E-2</c:v>
                </c:pt>
                <c:pt idx="2">
                  <c:v>3.0917818303169083E-2</c:v>
                </c:pt>
                <c:pt idx="4">
                  <c:v>1.9132431895118571E-4</c:v>
                </c:pt>
                <c:pt idx="5">
                  <c:v>3.7265307107165531E-2</c:v>
                </c:pt>
                <c:pt idx="6">
                  <c:v>2.8448033461384293E-2</c:v>
                </c:pt>
                <c:pt idx="7">
                  <c:v>4.4328122572103452E-2</c:v>
                </c:pt>
                <c:pt idx="8">
                  <c:v>5.5989035289387354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3">
                  <c:v>6.5629911824638341E-7</c:v>
                </c:pt>
                <c:pt idx="4">
                  <c:v>8.6656554234839627E-3</c:v>
                </c:pt>
                <c:pt idx="5">
                  <c:v>4.3521307814078439E-2</c:v>
                </c:pt>
                <c:pt idx="6">
                  <c:v>5.1946337728848548E-3</c:v>
                </c:pt>
                <c:pt idx="7">
                  <c:v>1.5923785506012002E-3</c:v>
                </c:pt>
                <c:pt idx="8">
                  <c:v>3.7143182967242248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1.4769469987927959E-2</c:v>
                </c:pt>
                <c:pt idx="2">
                  <c:v>2.3174585769354574E-3</c:v>
                </c:pt>
                <c:pt idx="3">
                  <c:v>5.4889164840494477E-2</c:v>
                </c:pt>
                <c:pt idx="4">
                  <c:v>2.1417116059667604E-2</c:v>
                </c:pt>
                <c:pt idx="5">
                  <c:v>5.4954785824171536E-2</c:v>
                </c:pt>
                <c:pt idx="6">
                  <c:v>0.14927955263464021</c:v>
                </c:pt>
                <c:pt idx="7">
                  <c:v>0.13229106377391031</c:v>
                </c:pt>
                <c:pt idx="8">
                  <c:v>0.31299472077907142</c:v>
                </c:pt>
                <c:pt idx="9">
                  <c:v>0.14351243301228028</c:v>
                </c:pt>
                <c:pt idx="10">
                  <c:v>0.1132490185854586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2">
                  <c:v>4.5441950144601978E-3</c:v>
                </c:pt>
                <c:pt idx="3">
                  <c:v>1.0915287386305847E-3</c:v>
                </c:pt>
                <c:pt idx="4">
                  <c:v>7.4759963962862475E-4</c:v>
                </c:pt>
                <c:pt idx="5">
                  <c:v>2.9902406589632558E-3</c:v>
                </c:pt>
                <c:pt idx="6">
                  <c:v>2.2852732224232768E-3</c:v>
                </c:pt>
                <c:pt idx="7">
                  <c:v>6.5449287405632212E-3</c:v>
                </c:pt>
                <c:pt idx="8">
                  <c:v>7.7063934654543371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4.1504876877430734E-4</c:v>
                </c:pt>
                <c:pt idx="1">
                  <c:v>1.5782481362390664E-3</c:v>
                </c:pt>
                <c:pt idx="2">
                  <c:v>3.8053908979085245E-3</c:v>
                </c:pt>
                <c:pt idx="3">
                  <c:v>5.6844741696043454E-3</c:v>
                </c:pt>
                <c:pt idx="4">
                  <c:v>1.2580806897340717E-2</c:v>
                </c:pt>
                <c:pt idx="5">
                  <c:v>1.7577000752309144E-2</c:v>
                </c:pt>
                <c:pt idx="6">
                  <c:v>3.4004399743729707E-2</c:v>
                </c:pt>
                <c:pt idx="7">
                  <c:v>5.9836479134632976E-2</c:v>
                </c:pt>
                <c:pt idx="8">
                  <c:v>0.11951646742528879</c:v>
                </c:pt>
                <c:pt idx="9">
                  <c:v>7.3474756220324428E-2</c:v>
                </c:pt>
                <c:pt idx="10">
                  <c:v>6.8159584098438503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3.5064512328136981E-5</c:v>
                </c:pt>
                <c:pt idx="1">
                  <c:v>1.7319463430745495E-4</c:v>
                </c:pt>
                <c:pt idx="2">
                  <c:v>4.4436672853280707E-4</c:v>
                </c:pt>
                <c:pt idx="3">
                  <c:v>3.6200938599081396E-4</c:v>
                </c:pt>
                <c:pt idx="4">
                  <c:v>6.7684554898847092E-4</c:v>
                </c:pt>
                <c:pt idx="5">
                  <c:v>2.4495252460546905E-2</c:v>
                </c:pt>
                <c:pt idx="6">
                  <c:v>1.0852852867598883E-2</c:v>
                </c:pt>
                <c:pt idx="7">
                  <c:v>3.7304016755102054E-3</c:v>
                </c:pt>
                <c:pt idx="8">
                  <c:v>1.5002390004548454E-3</c:v>
                </c:pt>
                <c:pt idx="10">
                  <c:v>1.0270904047911544E-5</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oign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6.5177375818929352E-5</c:v>
                </c:pt>
                <c:pt idx="2">
                  <c:v>1.4591878201196599E-4</c:v>
                </c:pt>
                <c:pt idx="3">
                  <c:v>4.7302290671990534E-8</c:v>
                </c:pt>
                <c:pt idx="4">
                  <c:v>5.966927184407958E-3</c:v>
                </c:pt>
                <c:pt idx="5">
                  <c:v>5.7078097410868578E-7</c:v>
                </c:pt>
                <c:pt idx="6">
                  <c:v>1.4162400657024312E-2</c:v>
                </c:pt>
                <c:pt idx="7">
                  <c:v>4.1120755247293786E-3</c:v>
                </c:pt>
                <c:pt idx="8">
                  <c:v>2.0762984146547182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1.8273809895202223E-2</c:v>
                </c:pt>
                <c:pt idx="1">
                  <c:v>1.4499592333091558E-2</c:v>
                </c:pt>
                <c:pt idx="2">
                  <c:v>1.2327067949718025E-2</c:v>
                </c:pt>
                <c:pt idx="3">
                  <c:v>3.2312665077955417E-2</c:v>
                </c:pt>
                <c:pt idx="4">
                  <c:v>3.1562385425686713E-2</c:v>
                </c:pt>
                <c:pt idx="5">
                  <c:v>5.7419202112619409E-2</c:v>
                </c:pt>
                <c:pt idx="6">
                  <c:v>6.9444130960401154E-2</c:v>
                </c:pt>
                <c:pt idx="7">
                  <c:v>0.10363466927240721</c:v>
                </c:pt>
                <c:pt idx="8">
                  <c:v>0.10690265321476616</c:v>
                </c:pt>
                <c:pt idx="9">
                  <c:v>2.9988512751334809E-2</c:v>
                </c:pt>
                <c:pt idx="10">
                  <c:v>1.3595895809992375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6">
                  <c:v>6.7580397135302726E-3</c:v>
                </c:pt>
                <c:pt idx="7">
                  <c:v>7.6792604187640604E-4</c:v>
                </c:pt>
                <c:pt idx="8">
                  <c:v>2.2935276614910325E-2</c:v>
                </c:pt>
                <c:pt idx="9">
                  <c:v>7.3021828060718733E-2</c:v>
                </c:pt>
                <c:pt idx="10">
                  <c:v>0.10546364191010567</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t More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1">
                  <c:v>1.1985028367831106E-2</c:v>
                </c:pt>
                <c:pt idx="2">
                  <c:v>1.2722744909185247E-3</c:v>
                </c:pt>
                <c:pt idx="3">
                  <c:v>4.1117522494445613E-2</c:v>
                </c:pt>
                <c:pt idx="4">
                  <c:v>1.9643777086309891E-2</c:v>
                </c:pt>
                <c:pt idx="5">
                  <c:v>3.684323873362097E-2</c:v>
                </c:pt>
                <c:pt idx="6">
                  <c:v>5.2782584795062273E-2</c:v>
                </c:pt>
                <c:pt idx="7">
                  <c:v>1.9658859394885812E-2</c:v>
                </c:pt>
                <c:pt idx="8">
                  <c:v>9.8894938206385896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4">
                  <c:v>2.5624963455585768E-4</c:v>
                </c:pt>
                <c:pt idx="5">
                  <c:v>8.625546990269144E-3</c:v>
                </c:pt>
                <c:pt idx="6">
                  <c:v>1.1454780717940091E-2</c:v>
                </c:pt>
                <c:pt idx="7">
                  <c:v>2.2883222378001097E-2</c:v>
                </c:pt>
                <c:pt idx="8">
                  <c:v>5.329542368167689E-2</c:v>
                </c:pt>
                <c:pt idx="9">
                  <c:v>7.2519363217122216E-3</c:v>
                </c:pt>
                <c:pt idx="10">
                  <c:v>8.0130730057553258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1">
                  <c:v>2.7844416200968536E-3</c:v>
                </c:pt>
                <c:pt idx="2">
                  <c:v>1.0451840860169327E-3</c:v>
                </c:pt>
                <c:pt idx="3">
                  <c:v>1.3771642346048864E-2</c:v>
                </c:pt>
                <c:pt idx="4">
                  <c:v>1.5170893388018554E-3</c:v>
                </c:pt>
                <c:pt idx="5">
                  <c:v>9.4860001002814182E-3</c:v>
                </c:pt>
                <c:pt idx="6">
                  <c:v>7.8284147408107588E-2</c:v>
                </c:pt>
                <c:pt idx="7">
                  <c:v>8.8981055959146987E-2</c:v>
                </c:pt>
                <c:pt idx="8">
                  <c:v>0.13786908227609831</c:v>
                </c:pt>
                <c:pt idx="9">
                  <c:v>6.3238668629849323E-2</c:v>
                </c:pt>
                <c:pt idx="10">
                  <c:v>6.9840693747774329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0921024996954196E-3</c:v>
                </c:pt>
                <c:pt idx="1">
                  <c:v>2.2013794513369753E-2</c:v>
                </c:pt>
                <c:pt idx="2">
                  <c:v>6.0164729451450899E-3</c:v>
                </c:pt>
                <c:pt idx="3">
                  <c:v>5.9948371208162959E-2</c:v>
                </c:pt>
                <c:pt idx="4">
                  <c:v>2.3502461461467141E-2</c:v>
                </c:pt>
                <c:pt idx="5">
                  <c:v>7.9254515665220515E-2</c:v>
                </c:pt>
                <c:pt idx="6">
                  <c:v>0.10057809753875298</c:v>
                </c:pt>
                <c:pt idx="7">
                  <c:v>0.25267661121730906</c:v>
                </c:pt>
                <c:pt idx="8">
                  <c:v>0.2504997063205352</c:v>
                </c:pt>
                <c:pt idx="9">
                  <c:v>0.15719468225499186</c:v>
                </c:pt>
                <c:pt idx="10">
                  <c:v>4.7223184375350009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7.1482032968675183E-7</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6">
                  <c:v>8.0028603535492416E-4</c:v>
                </c:pt>
                <c:pt idx="7">
                  <c:v>1.0742766677238561E-2</c:v>
                </c:pt>
                <c:pt idx="8">
                  <c:v>2.1433128089056962E-2</c:v>
                </c:pt>
                <c:pt idx="9">
                  <c:v>7.791538913009359E-2</c:v>
                </c:pt>
                <c:pt idx="10">
                  <c:v>3.9670115779002035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t More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2.4725635203864748E-4</c:v>
                </c:pt>
                <c:pt idx="1">
                  <c:v>1.4215372774110923E-2</c:v>
                </c:pt>
                <c:pt idx="2">
                  <c:v>4.8549256504206023E-3</c:v>
                </c:pt>
                <c:pt idx="3">
                  <c:v>4.262140340943385E-2</c:v>
                </c:pt>
                <c:pt idx="4">
                  <c:v>1.8334792981554462E-2</c:v>
                </c:pt>
                <c:pt idx="5">
                  <c:v>2.6101512439191687E-2</c:v>
                </c:pt>
                <c:pt idx="6">
                  <c:v>4.2468163801257251E-2</c:v>
                </c:pt>
                <c:pt idx="7">
                  <c:v>6.5960171015402719E-2</c:v>
                </c:pt>
                <c:pt idx="8">
                  <c:v>6.1802552596591551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Tartar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2">
                  <c:v>3.8421592720662911E-7</c:v>
                </c:pt>
                <c:pt idx="3">
                  <c:v>3.9207895083318342E-5</c:v>
                </c:pt>
                <c:pt idx="4">
                  <c:v>3.5994509643752759E-3</c:v>
                </c:pt>
                <c:pt idx="5">
                  <c:v>6.7906948442288109E-3</c:v>
                </c:pt>
                <c:pt idx="6">
                  <c:v>6.4855648512478995E-4</c:v>
                </c:pt>
                <c:pt idx="7">
                  <c:v>4.5601069406954228E-2</c:v>
                </c:pt>
                <c:pt idx="8">
                  <c:v>3.610527105383772E-2</c:v>
                </c:pt>
                <c:pt idx="9">
                  <c:v>1.5523163373035199E-2</c:v>
                </c:pt>
                <c:pt idx="10">
                  <c:v>3.7888426107257809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8.4413132732708528E-4</c:v>
                </c:pt>
                <c:pt idx="1">
                  <c:v>7.7984217392588302E-3</c:v>
                </c:pt>
                <c:pt idx="2">
                  <c:v>1.1611630787972808E-3</c:v>
                </c:pt>
                <c:pt idx="3">
                  <c:v>1.7287759903645793E-2</c:v>
                </c:pt>
                <c:pt idx="4">
                  <c:v>1.5682175155374016E-3</c:v>
                </c:pt>
                <c:pt idx="5">
                  <c:v>4.6362308381800013E-2</c:v>
                </c:pt>
                <c:pt idx="6">
                  <c:v>5.6661091217016013E-2</c:v>
                </c:pt>
                <c:pt idx="7">
                  <c:v>0.13037260411771356</c:v>
                </c:pt>
                <c:pt idx="8">
                  <c:v>0.13115875458104895</c:v>
                </c:pt>
                <c:pt idx="9">
                  <c:v>6.375612975186308E-2</c:v>
                </c:pt>
                <c:pt idx="10">
                  <c:v>3.7642259856221936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4.4185496993801796E-3</c:v>
                </c:pt>
                <c:pt idx="2">
                  <c:v>5.8867511383563064E-3</c:v>
                </c:pt>
                <c:pt idx="3">
                  <c:v>7.5681685289260239E-2</c:v>
                </c:pt>
                <c:pt idx="4">
                  <c:v>2.5426936831280101E-2</c:v>
                </c:pt>
                <c:pt idx="5">
                  <c:v>9.4771840334443316E-2</c:v>
                </c:pt>
                <c:pt idx="6">
                  <c:v>0.12889598069765412</c:v>
                </c:pt>
                <c:pt idx="7">
                  <c:v>0.13425471229470909</c:v>
                </c:pt>
                <c:pt idx="8">
                  <c:v>0.32909591222530005</c:v>
                </c:pt>
                <c:pt idx="9">
                  <c:v>0.10836522028352405</c:v>
                </c:pt>
                <c:pt idx="10">
                  <c:v>9.2817697572310995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1">
                  <c:v>4.4173814446993118E-3</c:v>
                </c:pt>
                <c:pt idx="2">
                  <c:v>5.2218879271393025E-3</c:v>
                </c:pt>
                <c:pt idx="3">
                  <c:v>6.777826345130282E-2</c:v>
                </c:pt>
                <c:pt idx="4">
                  <c:v>2.2669203245781977E-2</c:v>
                </c:pt>
                <c:pt idx="5">
                  <c:v>6.7392423662108167E-2</c:v>
                </c:pt>
                <c:pt idx="6">
                  <c:v>1.8633009621187736E-2</c:v>
                </c:pt>
                <c:pt idx="7">
                  <c:v>3.2488299639938642E-2</c:v>
                </c:pt>
                <c:pt idx="8">
                  <c:v>9.9426640599782373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8">
                  <c:v>2.4685547676057795E-2</c:v>
                </c:pt>
                <c:pt idx="9">
                  <c:v>4.175203301837152E-2</c:v>
                </c:pt>
                <c:pt idx="10">
                  <c:v>8.5975608799879435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4">
                  <c:v>1.8615243730184993E-4</c:v>
                </c:pt>
                <c:pt idx="5">
                  <c:v>1.896502549652692E-2</c:v>
                </c:pt>
                <c:pt idx="6">
                  <c:v>1.726077346311387E-2</c:v>
                </c:pt>
                <c:pt idx="7">
                  <c:v>1.6311361300978516E-2</c:v>
                </c:pt>
                <c:pt idx="8">
                  <c:v>8.2465150831309508E-2</c:v>
                </c:pt>
                <c:pt idx="9">
                  <c:v>1.140012387078055E-2</c:v>
                </c:pt>
                <c:pt idx="10">
                  <c:v>8.3803854922597388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1">
                  <c:v>1.1682546808676057E-6</c:v>
                </c:pt>
                <c:pt idx="2">
                  <c:v>6.6486321121700463E-4</c:v>
                </c:pt>
                <c:pt idx="3">
                  <c:v>7.9034218379574143E-3</c:v>
                </c:pt>
                <c:pt idx="4">
                  <c:v>2.5715811481962741E-3</c:v>
                </c:pt>
                <c:pt idx="5">
                  <c:v>8.4143911758082363E-3</c:v>
                </c:pt>
                <c:pt idx="6">
                  <c:v>9.3002197613352516E-2</c:v>
                </c:pt>
                <c:pt idx="7">
                  <c:v>8.5455051353791944E-2</c:v>
                </c:pt>
                <c:pt idx="8">
                  <c:v>0.12251857311815037</c:v>
                </c:pt>
                <c:pt idx="9">
                  <c:v>5.5213063394371972E-2</c:v>
                </c:pt>
                <c:pt idx="10">
                  <c:v>6.0040502232055811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6.4184151077648034E-3</c:v>
                </c:pt>
                <c:pt idx="1">
                  <c:v>1.2433173216472356E-2</c:v>
                </c:pt>
                <c:pt idx="2">
                  <c:v>1.6653419563341498E-2</c:v>
                </c:pt>
                <c:pt idx="3">
                  <c:v>4.528856379315839E-2</c:v>
                </c:pt>
                <c:pt idx="4">
                  <c:v>6.0469880502980883E-2</c:v>
                </c:pt>
                <c:pt idx="5">
                  <c:v>6.8046692315063287E-2</c:v>
                </c:pt>
                <c:pt idx="6">
                  <c:v>0.10564996279910281</c:v>
                </c:pt>
                <c:pt idx="7">
                  <c:v>0.20914003576282761</c:v>
                </c:pt>
                <c:pt idx="8">
                  <c:v>0.18189208301942128</c:v>
                </c:pt>
                <c:pt idx="9">
                  <c:v>5.0891551137366327E-2</c:v>
                </c:pt>
                <c:pt idx="10">
                  <c:v>0.24311622278250078</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6.0406870450386077E-4</c:v>
                </c:pt>
                <c:pt idx="1">
                  <c:v>5.648341745034556E-3</c:v>
                </c:pt>
                <c:pt idx="2">
                  <c:v>1.9483797523056189E-4</c:v>
                </c:pt>
                <c:pt idx="3">
                  <c:v>2.2247713587432619E-2</c:v>
                </c:pt>
                <c:pt idx="4">
                  <c:v>4.1343411473230188E-2</c:v>
                </c:pt>
                <c:pt idx="5">
                  <c:v>4.3725880508402653E-3</c:v>
                </c:pt>
                <c:pt idx="6">
                  <c:v>4.1440990923866085E-2</c:v>
                </c:pt>
                <c:pt idx="7">
                  <c:v>0.11830612581192236</c:v>
                </c:pt>
                <c:pt idx="8">
                  <c:v>0.13338433747979911</c:v>
                </c:pt>
                <c:pt idx="9">
                  <c:v>4.5186169508003936E-2</c:v>
                </c:pt>
                <c:pt idx="10">
                  <c:v>0.1990006993601412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alak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1.0373462332664182E-6</c:v>
                </c:pt>
                <c:pt idx="1">
                  <c:v>3.0774919553610828E-5</c:v>
                </c:pt>
                <c:pt idx="4">
                  <c:v>2.0936176639641302E-4</c:v>
                </c:pt>
                <c:pt idx="5">
                  <c:v>1.1954430850568996E-2</c:v>
                </c:pt>
                <c:pt idx="6">
                  <c:v>1.5789455511649245E-2</c:v>
                </c:pt>
                <c:pt idx="7">
                  <c:v>3.6089201831129236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Galbani</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4.4770126651555495E-5</c:v>
                </c:pt>
                <c:pt idx="1">
                  <c:v>1.6185829377370841E-3</c:v>
                </c:pt>
                <c:pt idx="2">
                  <c:v>6.2229069634481455E-4</c:v>
                </c:pt>
                <c:pt idx="3">
                  <c:v>1.6948547870356218E-3</c:v>
                </c:pt>
                <c:pt idx="4">
                  <c:v>9.7695163351760855E-3</c:v>
                </c:pt>
                <c:pt idx="5">
                  <c:v>3.5471246468041374E-2</c:v>
                </c:pt>
                <c:pt idx="6">
                  <c:v>1.2537394892261569E-2</c:v>
                </c:pt>
                <c:pt idx="7">
                  <c:v>1.3691035283868136E-2</c:v>
                </c:pt>
                <c:pt idx="8">
                  <c:v>1.4685893740976209E-2</c:v>
                </c:pt>
                <c:pt idx="9">
                  <c:v>1.3849072481170953E-3</c:v>
                </c:pt>
                <c:pt idx="10">
                  <c:v>2.9322379030104984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5.7685389303761209E-3</c:v>
                </c:pt>
                <c:pt idx="1">
                  <c:v>5.1354736141471053E-3</c:v>
                </c:pt>
                <c:pt idx="2">
                  <c:v>1.5836290891766119E-2</c:v>
                </c:pt>
                <c:pt idx="3">
                  <c:v>2.1345995418690148E-2</c:v>
                </c:pt>
                <c:pt idx="4">
                  <c:v>9.1475909281781998E-3</c:v>
                </c:pt>
                <c:pt idx="5">
                  <c:v>1.6248426945612661E-2</c:v>
                </c:pt>
                <c:pt idx="6">
                  <c:v>3.5882121471325912E-2</c:v>
                </c:pt>
                <c:pt idx="7">
                  <c:v>4.1053672835907877E-2</c:v>
                </c:pt>
                <c:pt idx="8">
                  <c:v>3.3821851798645948E-2</c:v>
                </c:pt>
                <c:pt idx="9">
                  <c:v>4.3204743812452952E-3</c:v>
                </c:pt>
                <c:pt idx="10">
                  <c:v>1.4793144392254549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0.1285</c:v>
                </c:pt>
                <c:pt idx="3">
                  <c:v>0.14899999999999999</c:v>
                </c:pt>
                <c:pt idx="4">
                  <c:v>2.6499999999999999E-2</c:v>
                </c:pt>
                <c:pt idx="5">
                  <c:v>0.106</c:v>
                </c:pt>
                <c:pt idx="6">
                  <c:v>9.4100000000000003E-2</c:v>
                </c:pt>
                <c:pt idx="7">
                  <c:v>0.25729999999999997</c:v>
                </c:pt>
                <c:pt idx="8">
                  <c:v>0.2384999999999999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2664777716174216E-2</c:v>
                </c:pt>
                <c:pt idx="1">
                  <c:v>1.455215005945285E-2</c:v>
                </c:pt>
                <c:pt idx="2">
                  <c:v>3.1793157987583059E-2</c:v>
                </c:pt>
                <c:pt idx="3">
                  <c:v>4.8197250418922831E-2</c:v>
                </c:pt>
                <c:pt idx="4">
                  <c:v>3.6172401739128744E-2</c:v>
                </c:pt>
                <c:pt idx="5">
                  <c:v>0.10756737889583759</c:v>
                </c:pt>
                <c:pt idx="6">
                  <c:v>0.1437797360274827</c:v>
                </c:pt>
                <c:pt idx="7">
                  <c:v>0.16541094068946494</c:v>
                </c:pt>
                <c:pt idx="8">
                  <c:v>0.17248314445239338</c:v>
                </c:pt>
                <c:pt idx="9">
                  <c:v>0.20438488641867086</c:v>
                </c:pt>
                <c:pt idx="10">
                  <c:v>6.2994175594888818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6.8193811307894463E-4</c:v>
                </c:pt>
                <c:pt idx="1">
                  <c:v>6.0173469111435029E-5</c:v>
                </c:pt>
                <c:pt idx="2">
                  <c:v>8.963845470016352E-3</c:v>
                </c:pt>
                <c:pt idx="3">
                  <c:v>2.3701830432512266E-2</c:v>
                </c:pt>
                <c:pt idx="4">
                  <c:v>1.3538136962298842E-2</c:v>
                </c:pt>
                <c:pt idx="5">
                  <c:v>5.2050714440147451E-2</c:v>
                </c:pt>
                <c:pt idx="6">
                  <c:v>6.6835411572889747E-2</c:v>
                </c:pt>
                <c:pt idx="7">
                  <c:v>7.8245022457428454E-2</c:v>
                </c:pt>
                <c:pt idx="8">
                  <c:v>0.12333337649728078</c:v>
                </c:pt>
                <c:pt idx="9">
                  <c:v>0.18253935133240679</c:v>
                </c:pt>
                <c:pt idx="10">
                  <c:v>3.1980889805023643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alak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2.8323074475378015E-6</c:v>
                </c:pt>
                <c:pt idx="3">
                  <c:v>8.0997722208184354E-7</c:v>
                </c:pt>
                <c:pt idx="4">
                  <c:v>3.4743737786523303E-3</c:v>
                </c:pt>
                <c:pt idx="5">
                  <c:v>1.0002058596302368E-2</c:v>
                </c:pt>
                <c:pt idx="6">
                  <c:v>2.3991525318064207E-2</c:v>
                </c:pt>
                <c:pt idx="7">
                  <c:v>3.0133399695028422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Galbani</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1.7244676341097316E-7</c:v>
                </c:pt>
                <c:pt idx="1">
                  <c:v>6.8490106201391507E-4</c:v>
                </c:pt>
                <c:pt idx="2">
                  <c:v>5.0108326353681221E-4</c:v>
                </c:pt>
                <c:pt idx="3">
                  <c:v>3.149750585020419E-3</c:v>
                </c:pt>
                <c:pt idx="4">
                  <c:v>8.9383965082644908E-3</c:v>
                </c:pt>
                <c:pt idx="5">
                  <c:v>2.4433093545586246E-2</c:v>
                </c:pt>
                <c:pt idx="6">
                  <c:v>1.1380854080325055E-2</c:v>
                </c:pt>
                <c:pt idx="7">
                  <c:v>1.5430902186178689E-2</c:v>
                </c:pt>
                <c:pt idx="8">
                  <c:v>6.3719131336949552E-3</c:v>
                </c:pt>
                <c:pt idx="9">
                  <c:v>1.3821451317604578E-2</c:v>
                </c:pt>
                <c:pt idx="10">
                  <c:v>1.774418145546594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1.1979834848884326E-2</c:v>
                </c:pt>
                <c:pt idx="1">
                  <c:v>1.38070755283275E-2</c:v>
                </c:pt>
                <c:pt idx="2">
                  <c:v>2.2328229254029896E-2</c:v>
                </c:pt>
                <c:pt idx="3">
                  <c:v>2.1344859424168066E-2</c:v>
                </c:pt>
                <c:pt idx="4">
                  <c:v>1.0221494489913082E-2</c:v>
                </c:pt>
                <c:pt idx="5">
                  <c:v>2.1081512313801523E-2</c:v>
                </c:pt>
                <c:pt idx="6">
                  <c:v>4.1571945056203694E-2</c:v>
                </c:pt>
                <c:pt idx="7">
                  <c:v>4.1601616350829373E-2</c:v>
                </c:pt>
                <c:pt idx="8">
                  <c:v>4.2777854821417632E-2</c:v>
                </c:pt>
                <c:pt idx="9">
                  <c:v>8.0240837686595106E-3</c:v>
                </c:pt>
                <c:pt idx="10">
                  <c:v>1.3269104334399231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4.1233788397141476E-3</c:v>
                </c:pt>
                <c:pt idx="1">
                  <c:v>3.9175222582530523E-3</c:v>
                </c:pt>
                <c:pt idx="2">
                  <c:v>2.0573970079543279E-2</c:v>
                </c:pt>
                <c:pt idx="3">
                  <c:v>9.2174349105215783E-2</c:v>
                </c:pt>
                <c:pt idx="4">
                  <c:v>2.4063880146346323E-2</c:v>
                </c:pt>
                <c:pt idx="5">
                  <c:v>8.1603425497824275E-2</c:v>
                </c:pt>
                <c:pt idx="6">
                  <c:v>0.12296985512425648</c:v>
                </c:pt>
                <c:pt idx="7">
                  <c:v>0.20932020763186437</c:v>
                </c:pt>
                <c:pt idx="8">
                  <c:v>0.14848773889644468</c:v>
                </c:pt>
                <c:pt idx="9">
                  <c:v>0.13344545786542819</c:v>
                </c:pt>
                <c:pt idx="10">
                  <c:v>0.15932021455510939</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2">
                  <c:v>1.3363654757254455E-3</c:v>
                </c:pt>
                <c:pt idx="3">
                  <c:v>8.7012190295048905E-2</c:v>
                </c:pt>
                <c:pt idx="4">
                  <c:v>1.268574689640904E-3</c:v>
                </c:pt>
                <c:pt idx="5">
                  <c:v>1.0192482745461189E-3</c:v>
                </c:pt>
                <c:pt idx="6">
                  <c:v>3.1913976611991468E-2</c:v>
                </c:pt>
                <c:pt idx="7">
                  <c:v>0.11080357151802092</c:v>
                </c:pt>
                <c:pt idx="8">
                  <c:v>9.8545501973014871E-2</c:v>
                </c:pt>
                <c:pt idx="9">
                  <c:v>0.12773422056645714</c:v>
                </c:pt>
                <c:pt idx="10">
                  <c:v>0.1122901225403777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1.1388330782579099E-4</c:v>
                </c:pt>
                <c:pt idx="1">
                  <c:v>1.182099287038528E-3</c:v>
                </c:pt>
                <c:pt idx="2">
                  <c:v>3.7134657204931074E-4</c:v>
                </c:pt>
                <c:pt idx="3">
                  <c:v>3.8658096905670306E-3</c:v>
                </c:pt>
                <c:pt idx="4">
                  <c:v>1.8925822373788977E-2</c:v>
                </c:pt>
                <c:pt idx="5">
                  <c:v>5.1330828101471021E-2</c:v>
                </c:pt>
                <c:pt idx="6">
                  <c:v>2.4754917737717784E-2</c:v>
                </c:pt>
                <c:pt idx="7">
                  <c:v>2.6714253088929971E-2</c:v>
                </c:pt>
                <c:pt idx="8">
                  <c:v>2.276403682426777E-2</c:v>
                </c:pt>
                <c:pt idx="9">
                  <c:v>2.986582009986952E-3</c:v>
                </c:pt>
                <c:pt idx="10">
                  <c:v>3.7292450176073189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alaki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4">
                  <c:v>1.0368088818749992E-3</c:v>
                </c:pt>
                <c:pt idx="5">
                  <c:v>2.0182016672363141E-2</c:v>
                </c:pt>
                <c:pt idx="6">
                  <c:v>2.3140351842732023E-2</c:v>
                </c:pt>
                <c:pt idx="7">
                  <c:v>4.0682909864636144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4.0094955318883563E-3</c:v>
                </c:pt>
                <c:pt idx="1">
                  <c:v>2.7354229712145241E-3</c:v>
                </c:pt>
                <c:pt idx="2">
                  <c:v>1.8866258031768522E-2</c:v>
                </c:pt>
                <c:pt idx="3">
                  <c:v>1.2963491195998476E-3</c:v>
                </c:pt>
                <c:pt idx="4">
                  <c:v>2.8326742010414403E-3</c:v>
                </c:pt>
                <c:pt idx="5">
                  <c:v>9.0713324494440008E-3</c:v>
                </c:pt>
                <c:pt idx="6">
                  <c:v>4.3160608931815218E-2</c:v>
                </c:pt>
                <c:pt idx="7">
                  <c:v>3.1119473160277349E-2</c:v>
                </c:pt>
                <c:pt idx="8">
                  <c:v>2.7178200099162046E-2</c:v>
                </c:pt>
                <c:pt idx="9">
                  <c:v>2.7246552889841065E-3</c:v>
                </c:pt>
                <c:pt idx="10">
                  <c:v>9.7376418386584673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233413980241707E-2</c:v>
                </c:pt>
                <c:pt idx="1">
                  <c:v>1.8516038253045788E-2</c:v>
                </c:pt>
                <c:pt idx="2">
                  <c:v>1.0825272627964894E-2</c:v>
                </c:pt>
                <c:pt idx="3">
                  <c:v>1.3085022230190355E-2</c:v>
                </c:pt>
                <c:pt idx="4">
                  <c:v>2.27156576849857E-2</c:v>
                </c:pt>
                <c:pt idx="5">
                  <c:v>0.15241475836441309</c:v>
                </c:pt>
                <c:pt idx="6">
                  <c:v>0.1326046133269137</c:v>
                </c:pt>
                <c:pt idx="7">
                  <c:v>0.14706949062230559</c:v>
                </c:pt>
                <c:pt idx="8">
                  <c:v>0.27489550926231998</c:v>
                </c:pt>
                <c:pt idx="9">
                  <c:v>0.18418147748810215</c:v>
                </c:pt>
                <c:pt idx="10">
                  <c:v>2.135802033734167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2.0239547921764041E-4</c:v>
                </c:pt>
                <c:pt idx="1">
                  <c:v>2.6155826392256924E-4</c:v>
                </c:pt>
                <c:pt idx="2">
                  <c:v>1.6105252827636695E-4</c:v>
                </c:pt>
                <c:pt idx="3">
                  <c:v>2.96035532044395E-7</c:v>
                </c:pt>
                <c:pt idx="4">
                  <c:v>4.327278483194817E-3</c:v>
                </c:pt>
                <c:pt idx="5">
                  <c:v>2.6641117272685588E-2</c:v>
                </c:pt>
                <c:pt idx="6">
                  <c:v>4.6877816897776911E-2</c:v>
                </c:pt>
                <c:pt idx="7">
                  <c:v>2.922080602178018E-3</c:v>
                </c:pt>
                <c:pt idx="8">
                  <c:v>0.15826895383529171</c:v>
                </c:pt>
                <c:pt idx="9">
                  <c:v>0.12122166244086677</c:v>
                </c:pt>
                <c:pt idx="10">
                  <c:v>1.4596743563487793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1.3018037082867506E-4</c:v>
                </c:pt>
                <c:pt idx="1">
                  <c:v>6.4300171947890249E-4</c:v>
                </c:pt>
                <c:pt idx="2">
                  <c:v>1.6497541720523774E-3</c:v>
                </c:pt>
                <c:pt idx="3">
                  <c:v>1.3439946254130326E-3</c:v>
                </c:pt>
                <c:pt idx="4">
                  <c:v>2.512854128313462E-3</c:v>
                </c:pt>
                <c:pt idx="5">
                  <c:v>9.0940978132389619E-2</c:v>
                </c:pt>
                <c:pt idx="6">
                  <c:v>4.0292258954914076E-2</c:v>
                </c:pt>
                <c:pt idx="7">
                  <c:v>1.3849474617336882E-2</c:v>
                </c:pt>
                <c:pt idx="8">
                  <c:v>5.5697814241133974E-3</c:v>
                </c:pt>
                <c:pt idx="10">
                  <c:v>3.8131718051300349E-5</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eur De Li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2">
                  <c:v>1.9245152862007006E-4</c:v>
                </c:pt>
                <c:pt idx="3">
                  <c:v>4.6965543766289862E-3</c:v>
                </c:pt>
                <c:pt idx="5">
                  <c:v>3.7292206440384962E-3</c:v>
                </c:pt>
                <c:pt idx="6">
                  <c:v>9.8584916622859332E-3</c:v>
                </c:pt>
                <c:pt idx="7">
                  <c:v>6.7705722895600715E-2</c:v>
                </c:pt>
                <c:pt idx="8">
                  <c:v>3.598281619439564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2001563952370753E-2</c:v>
                </c:pt>
                <c:pt idx="1">
                  <c:v>1.7611478269644317E-2</c:v>
                </c:pt>
                <c:pt idx="2">
                  <c:v>8.8220143990160784E-3</c:v>
                </c:pt>
                <c:pt idx="3">
                  <c:v>7.0441771926162905E-3</c:v>
                </c:pt>
                <c:pt idx="4">
                  <c:v>1.587552507347742E-2</c:v>
                </c:pt>
                <c:pt idx="5">
                  <c:v>3.1103442315299382E-2</c:v>
                </c:pt>
                <c:pt idx="6">
                  <c:v>3.5576045811936782E-2</c:v>
                </c:pt>
                <c:pt idx="7">
                  <c:v>6.2592212507189979E-2</c:v>
                </c:pt>
                <c:pt idx="8">
                  <c:v>7.5073957808519234E-2</c:v>
                </c:pt>
                <c:pt idx="9">
                  <c:v>6.2959815047235385E-2</c:v>
                </c:pt>
                <c:pt idx="10">
                  <c:v>6.7231450558025768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398673961529265E-2</c:v>
                </c:pt>
                <c:pt idx="1">
                  <c:v>2.2440013185811045E-2</c:v>
                </c:pt>
                <c:pt idx="2">
                  <c:v>2.5308299426034544E-2</c:v>
                </c:pt>
                <c:pt idx="3">
                  <c:v>5.3762350004310372E-2</c:v>
                </c:pt>
                <c:pt idx="4">
                  <c:v>6.0479768899024261E-2</c:v>
                </c:pt>
                <c:pt idx="5">
                  <c:v>0.11906086687087766</c:v>
                </c:pt>
                <c:pt idx="6">
                  <c:v>0.13389055283916435</c:v>
                </c:pt>
                <c:pt idx="7">
                  <c:v>0.18936383046379759</c:v>
                </c:pt>
                <c:pt idx="8">
                  <c:v>0.20795372780999538</c:v>
                </c:pt>
                <c:pt idx="9">
                  <c:v>0.13703616353638812</c:v>
                </c:pt>
                <c:pt idx="10">
                  <c:v>2.671768734930402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9772656352017654E-2</c:v>
                </c:pt>
                <c:pt idx="1">
                  <c:v>2.3212152827471175E-2</c:v>
                </c:pt>
                <c:pt idx="2">
                  <c:v>9.5276320472047864E-3</c:v>
                </c:pt>
                <c:pt idx="3">
                  <c:v>2.0834565919059692E-2</c:v>
                </c:pt>
                <c:pt idx="4">
                  <c:v>5.6280952496327266E-2</c:v>
                </c:pt>
                <c:pt idx="5">
                  <c:v>0.14858554007140798</c:v>
                </c:pt>
                <c:pt idx="6">
                  <c:v>0.13431405689832426</c:v>
                </c:pt>
                <c:pt idx="7">
                  <c:v>0.17459164325638371</c:v>
                </c:pt>
                <c:pt idx="8">
                  <c:v>0.24859878263049723</c:v>
                </c:pt>
                <c:pt idx="9">
                  <c:v>0.15784269013818414</c:v>
                </c:pt>
                <c:pt idx="10">
                  <c:v>6.4393273631220939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1.1072206953701329E-4</c:v>
                </c:pt>
                <c:pt idx="1">
                  <c:v>9.8258963677779861E-7</c:v>
                </c:pt>
                <c:pt idx="2">
                  <c:v>5.3737979969518241E-4</c:v>
                </c:pt>
                <c:pt idx="3">
                  <c:v>3.7915792159768625E-3</c:v>
                </c:pt>
                <c:pt idx="4">
                  <c:v>1.74384459394888E-2</c:v>
                </c:pt>
                <c:pt idx="5">
                  <c:v>2.398886702522296E-2</c:v>
                </c:pt>
                <c:pt idx="6">
                  <c:v>2.8077040668504298E-2</c:v>
                </c:pt>
                <c:pt idx="7">
                  <c:v>2.4364165355091935E-2</c:v>
                </c:pt>
                <c:pt idx="8">
                  <c:v>0.11227914318733516</c:v>
                </c:pt>
                <c:pt idx="9">
                  <c:v>0.10566720078983508</c:v>
                </c:pt>
                <c:pt idx="10">
                  <c:v>6.3641668926156143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1.6800755447496039E-7</c:v>
                </c:pt>
                <c:pt idx="1">
                  <c:v>9.0931288733664395E-4</c:v>
                </c:pt>
                <c:pt idx="2">
                  <c:v>4.389767568115952E-3</c:v>
                </c:pt>
                <c:pt idx="3">
                  <c:v>2.3038977767911605E-3</c:v>
                </c:pt>
                <c:pt idx="4">
                  <c:v>2.0754355039642937E-2</c:v>
                </c:pt>
                <c:pt idx="5">
                  <c:v>8.4672717134605294E-2</c:v>
                </c:pt>
                <c:pt idx="6">
                  <c:v>3.3036414939946537E-2</c:v>
                </c:pt>
                <c:pt idx="7">
                  <c:v>1.4734461081836587E-2</c:v>
                </c:pt>
                <c:pt idx="8">
                  <c:v>4.7791785325608238E-3</c:v>
                </c:pt>
                <c:pt idx="9">
                  <c:v>2.5608424212395474E-6</c:v>
                </c:pt>
                <c:pt idx="10">
                  <c:v>3.0887934333320745E-5</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eur De Li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2">
                  <c:v>3.5823283524473069E-4</c:v>
                </c:pt>
                <c:pt idx="3">
                  <c:v>7.7176408426039098E-3</c:v>
                </c:pt>
                <c:pt idx="4">
                  <c:v>1.4611566101307161E-6</c:v>
                </c:pt>
                <c:pt idx="5">
                  <c:v>2.6771749248684216E-4</c:v>
                </c:pt>
                <c:pt idx="6">
                  <c:v>2.7288245200244362E-2</c:v>
                </c:pt>
                <c:pt idx="7">
                  <c:v>4.7237192388286393E-2</c:v>
                </c:pt>
                <c:pt idx="8">
                  <c:v>4.7206900117100756E-2</c:v>
                </c:pt>
                <c:pt idx="9">
                  <c:v>4.5335056676763021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1.9661766274926166E-2</c:v>
                </c:pt>
                <c:pt idx="1">
                  <c:v>2.2301857350497754E-2</c:v>
                </c:pt>
                <c:pt idx="2">
                  <c:v>4.2422518441489225E-3</c:v>
                </c:pt>
                <c:pt idx="3">
                  <c:v>7.0214480836877603E-3</c:v>
                </c:pt>
                <c:pt idx="4">
                  <c:v>1.8086690360585397E-2</c:v>
                </c:pt>
                <c:pt idx="5">
                  <c:v>3.9656238419092903E-2</c:v>
                </c:pt>
                <c:pt idx="6">
                  <c:v>4.5912356089629056E-2</c:v>
                </c:pt>
                <c:pt idx="7">
                  <c:v>8.8255824431168806E-2</c:v>
                </c:pt>
                <c:pt idx="8">
                  <c:v>8.4333560793500489E-2</c:v>
                </c:pt>
                <c:pt idx="9">
                  <c:v>5.1719577939160176E-2</c:v>
                </c:pt>
                <c:pt idx="10">
                  <c:v>4.4272536173159256E-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3.180570518301911E-2</c:v>
                </c:pt>
                <c:pt idx="1">
                  <c:v>7.1787501568152164E-3</c:v>
                </c:pt>
                <c:pt idx="2">
                  <c:v>7.4170086151862345E-3</c:v>
                </c:pt>
                <c:pt idx="3">
                  <c:v>1.2870735468148011E-2</c:v>
                </c:pt>
                <c:pt idx="4">
                  <c:v>6.6308669366560491E-2</c:v>
                </c:pt>
                <c:pt idx="5">
                  <c:v>0.16040717619239409</c:v>
                </c:pt>
                <c:pt idx="6">
                  <c:v>0.13239687151562307</c:v>
                </c:pt>
                <c:pt idx="7">
                  <c:v>0.17333995418547299</c:v>
                </c:pt>
                <c:pt idx="8">
                  <c:v>0.20746469137783646</c:v>
                </c:pt>
                <c:pt idx="9">
                  <c:v>0.13202397008973621</c:v>
                </c:pt>
                <c:pt idx="10">
                  <c:v>6.8786467849208124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aprice Des Dieux</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2.8336730136716521E-6</c:v>
                </c:pt>
                <c:pt idx="1">
                  <c:v>4.8682005239262548E-5</c:v>
                </c:pt>
                <c:pt idx="2">
                  <c:v>2.8813918186540743E-3</c:v>
                </c:pt>
                <c:pt idx="3">
                  <c:v>3.3094815121602729E-3</c:v>
                </c:pt>
                <c:pt idx="4">
                  <c:v>1.5610344208995217E-2</c:v>
                </c:pt>
                <c:pt idx="5">
                  <c:v>9.3941797251143294E-2</c:v>
                </c:pt>
                <c:pt idx="6">
                  <c:v>3.8529799961824956E-2</c:v>
                </c:pt>
                <c:pt idx="7">
                  <c:v>2.5987851347800527E-2</c:v>
                </c:pt>
                <c:pt idx="8">
                  <c:v>2.4451056016719266E-3</c:v>
                </c:pt>
                <c:pt idx="9">
                  <c:v>9.9924258903158255E-6</c:v>
                </c:pt>
                <c:pt idx="10">
                  <c:v>5.6549176369324639E-7</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1.5779084465603199E-4</c:v>
                </c:pt>
                <c:pt idx="1">
                  <c:v>9.5077186642930433E-7</c:v>
                </c:pt>
                <c:pt idx="2">
                  <c:v>2.3452372705256172E-5</c:v>
                </c:pt>
                <c:pt idx="3">
                  <c:v>2.4147741148742704E-4</c:v>
                </c:pt>
                <c:pt idx="4">
                  <c:v>2.5505033237120191E-2</c:v>
                </c:pt>
                <c:pt idx="5">
                  <c:v>5.2118020194195586E-3</c:v>
                </c:pt>
                <c:pt idx="6">
                  <c:v>4.7774440672096533E-2</c:v>
                </c:pt>
                <c:pt idx="7">
                  <c:v>1.0407614914575571E-2</c:v>
                </c:pt>
                <c:pt idx="8">
                  <c:v>8.0755051314214038E-2</c:v>
                </c:pt>
                <c:pt idx="9">
                  <c:v>5.3486659403018173E-2</c:v>
                </c:pt>
                <c:pt idx="10">
                  <c:v>6.8785902357444431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4.8966056102102314E-3</c:v>
                </c:pt>
                <c:pt idx="1">
                  <c:v>6.8056063773153435E-3</c:v>
                </c:pt>
                <c:pt idx="3">
                  <c:v>6.5280120632940145E-5</c:v>
                </c:pt>
                <c:pt idx="4">
                  <c:v>1.1993396746461159E-4</c:v>
                </c:pt>
                <c:pt idx="5">
                  <c:v>1.5752040288069209E-2</c:v>
                </c:pt>
                <c:pt idx="6">
                  <c:v>1.5937875795687305E-2</c:v>
                </c:pt>
                <c:pt idx="7">
                  <c:v>5.3315421039937611E-2</c:v>
                </c:pt>
                <c:pt idx="8">
                  <c:v>1.3359245781636511E-2</c:v>
                </c:pt>
                <c:pt idx="9">
                  <c:v>6.982920980467764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6748475055139175E-2</c:v>
                </c:pt>
                <c:pt idx="1">
                  <c:v>3.2351100239418025E-4</c:v>
                </c:pt>
                <c:pt idx="2">
                  <c:v>4.5121644238269041E-3</c:v>
                </c:pt>
                <c:pt idx="3">
                  <c:v>9.2544964238673727E-3</c:v>
                </c:pt>
                <c:pt idx="4">
                  <c:v>2.5073357952980466E-2</c:v>
                </c:pt>
                <c:pt idx="5">
                  <c:v>4.5501536633762003E-2</c:v>
                </c:pt>
                <c:pt idx="6">
                  <c:v>3.0154755086014281E-2</c:v>
                </c:pt>
                <c:pt idx="7">
                  <c:v>8.3629066883159284E-2</c:v>
                </c:pt>
                <c:pt idx="8">
                  <c:v>0.11090528868031398</c:v>
                </c:pt>
                <c:pt idx="9">
                  <c:v>8.698108456150065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3.3951101757598065E-2</c:v>
                </c:pt>
                <c:pt idx="1">
                  <c:v>2.171650644987758E-2</c:v>
                </c:pt>
                <c:pt idx="2">
                  <c:v>4.1399587782975131E-2</c:v>
                </c:pt>
                <c:pt idx="3">
                  <c:v>2.1668009689674434E-2</c:v>
                </c:pt>
                <c:pt idx="4">
                  <c:v>5.2557201124251975E-2</c:v>
                </c:pt>
                <c:pt idx="5">
                  <c:v>6.3701696813512995E-2</c:v>
                </c:pt>
                <c:pt idx="6">
                  <c:v>0.13085829476746524</c:v>
                </c:pt>
                <c:pt idx="7">
                  <c:v>0.17790741654622319</c:v>
                </c:pt>
                <c:pt idx="8">
                  <c:v>0.38182493017031233</c:v>
                </c:pt>
                <c:pt idx="9">
                  <c:v>7.1585046101095867E-2</c:v>
                </c:pt>
                <c:pt idx="10">
                  <c:v>2.8302087970132738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1.1623776833627002E-3</c:v>
                </c:pt>
                <c:pt idx="1">
                  <c:v>8.7656337149180381E-4</c:v>
                </c:pt>
                <c:pt idx="2">
                  <c:v>1.997401370399722E-2</c:v>
                </c:pt>
                <c:pt idx="3">
                  <c:v>1.6318094678739201E-3</c:v>
                </c:pt>
                <c:pt idx="4">
                  <c:v>6.8065736745573351E-3</c:v>
                </c:pt>
                <c:pt idx="5">
                  <c:v>4.2331941951958073E-2</c:v>
                </c:pt>
                <c:pt idx="6">
                  <c:v>1.0987943876921608E-2</c:v>
                </c:pt>
                <c:pt idx="7">
                  <c:v>0.10022590213000396</c:v>
                </c:pt>
                <c:pt idx="8">
                  <c:v>0.1956236050586164</c:v>
                </c:pt>
                <c:pt idx="9">
                  <c:v>6.9275193899495061E-2</c:v>
                </c:pt>
                <c:pt idx="10">
                  <c:v>2.5735545708546179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3.5754374852480474E-4</c:v>
                </c:pt>
                <c:pt idx="2">
                  <c:v>8.0046715052893927E-4</c:v>
                </c:pt>
                <c:pt idx="3">
                  <c:v>2.5948633414850514E-7</c:v>
                </c:pt>
                <c:pt idx="4">
                  <c:v>3.273279241273426E-2</c:v>
                </c:pt>
                <c:pt idx="5">
                  <c:v>3.1311350987252953E-6</c:v>
                </c:pt>
                <c:pt idx="6">
                  <c:v>7.7690728652379942E-2</c:v>
                </c:pt>
                <c:pt idx="7">
                  <c:v>2.2557626459423118E-2</c:v>
                </c:pt>
                <c:pt idx="8">
                  <c:v>0.1138995715774357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3">
                  <c:v>2.1390953659405658E-3</c:v>
                </c:pt>
                <c:pt idx="4">
                  <c:v>1.0266638593046117E-4</c:v>
                </c:pt>
                <c:pt idx="6">
                  <c:v>2.2550160666894904E-2</c:v>
                </c:pt>
                <c:pt idx="7">
                  <c:v>2.6964534769534014E-3</c:v>
                </c:pt>
                <c:pt idx="8">
                  <c:v>4.870493991078667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3.243118032571056E-2</c:v>
                </c:pt>
                <c:pt idx="1">
                  <c:v>2.0839943078385777E-2</c:v>
                </c:pt>
                <c:pt idx="2">
                  <c:v>2.0625106928448968E-2</c:v>
                </c:pt>
                <c:pt idx="3">
                  <c:v>1.7896845369525804E-2</c:v>
                </c:pt>
                <c:pt idx="4">
                  <c:v>1.2915168651029919E-2</c:v>
                </c:pt>
                <c:pt idx="5">
                  <c:v>2.1366623726456209E-2</c:v>
                </c:pt>
                <c:pt idx="6">
                  <c:v>1.9629461571268787E-2</c:v>
                </c:pt>
                <c:pt idx="7">
                  <c:v>5.242743447984273E-2</c:v>
                </c:pt>
                <c:pt idx="8">
                  <c:v>2.3596813623473423E-2</c:v>
                </c:pt>
                <c:pt idx="9">
                  <c:v>2.3098522016008045E-3</c:v>
                </c:pt>
                <c:pt idx="10">
                  <c:v>2.566542261586557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5.6578369953938744E-2</c:v>
                </c:pt>
                <c:pt idx="1">
                  <c:v>3.9748049335277487E-2</c:v>
                </c:pt>
                <c:pt idx="2">
                  <c:v>3.6152583544337209E-2</c:v>
                </c:pt>
                <c:pt idx="3">
                  <c:v>2.5469849750860748E-2</c:v>
                </c:pt>
                <c:pt idx="4">
                  <c:v>6.4813880382745381E-2</c:v>
                </c:pt>
                <c:pt idx="5">
                  <c:v>8.5197700245182306E-2</c:v>
                </c:pt>
                <c:pt idx="6">
                  <c:v>0.17447621527054127</c:v>
                </c:pt>
                <c:pt idx="7">
                  <c:v>0.20259246306990594</c:v>
                </c:pt>
                <c:pt idx="8">
                  <c:v>0.20923515941614845</c:v>
                </c:pt>
                <c:pt idx="9">
                  <c:v>0.10072276476360653</c:v>
                </c:pt>
                <c:pt idx="10">
                  <c:v>5.0129642674558942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6.2277224760438732E-8</c:v>
                </c:pt>
                <c:pt idx="1">
                  <c:v>1.7636380033222116E-6</c:v>
                </c:pt>
                <c:pt idx="2">
                  <c:v>3.8848811065502098E-3</c:v>
                </c:pt>
                <c:pt idx="3">
                  <c:v>4.5041711297573537E-3</c:v>
                </c:pt>
                <c:pt idx="4">
                  <c:v>8.0022391179891315E-4</c:v>
                </c:pt>
                <c:pt idx="5">
                  <c:v>3.2043831717822372E-3</c:v>
                </c:pt>
                <c:pt idx="6">
                  <c:v>2.846086397167409E-3</c:v>
                </c:pt>
                <c:pt idx="7">
                  <c:v>7.7798020967602037E-3</c:v>
                </c:pt>
                <c:pt idx="8">
                  <c:v>7.211375340566979E-3</c:v>
                </c:pt>
                <c:pt idx="9">
                  <c:v>4.3726562065839961E-8</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1.5391047572087941E-3</c:v>
                </c:pt>
                <c:pt idx="1">
                  <c:v>2.1760974128159269E-3</c:v>
                </c:pt>
                <c:pt idx="2">
                  <c:v>4.6734883283602981E-3</c:v>
                </c:pt>
                <c:pt idx="3">
                  <c:v>7.4046321693773025E-3</c:v>
                </c:pt>
                <c:pt idx="4">
                  <c:v>1.024889265131663E-2</c:v>
                </c:pt>
                <c:pt idx="5">
                  <c:v>3.3528355125194316E-2</c:v>
                </c:pt>
                <c:pt idx="6">
                  <c:v>3.4686229188508416E-2</c:v>
                </c:pt>
                <c:pt idx="7">
                  <c:v>5.1855161672868022E-2</c:v>
                </c:pt>
                <c:pt idx="8">
                  <c:v>8.3091045777973854E-2</c:v>
                </c:pt>
                <c:pt idx="9">
                  <c:v>0.10231532411148089</c:v>
                </c:pt>
                <c:pt idx="10">
                  <c:v>1.7488886364232032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4.3726562065839961E-8</c:v>
                </c:pt>
                <c:pt idx="1">
                  <c:v>2.3666272942101448E-4</c:v>
                </c:pt>
                <c:pt idx="2">
                  <c:v>1.1425048392716256E-3</c:v>
                </c:pt>
                <c:pt idx="3">
                  <c:v>5.9962499570353405E-4</c:v>
                </c:pt>
                <c:pt idx="4">
                  <c:v>5.4016415905433594E-3</c:v>
                </c:pt>
                <c:pt idx="5">
                  <c:v>2.2037382977450795E-2</c:v>
                </c:pt>
                <c:pt idx="6">
                  <c:v>8.5982374591358716E-3</c:v>
                </c:pt>
                <c:pt idx="7">
                  <c:v>3.8348711700202424E-3</c:v>
                </c:pt>
                <c:pt idx="8">
                  <c:v>1.2438550598562307E-3</c:v>
                </c:pt>
                <c:pt idx="9">
                  <c:v>6.6649880967022722E-7</c:v>
                </c:pt>
                <c:pt idx="10">
                  <c:v>8.0390621834379105E-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a Vache Qui Ri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2.7415229367946326E-6</c:v>
                </c:pt>
                <c:pt idx="1">
                  <c:v>6.426479576343146E-7</c:v>
                </c:pt>
                <c:pt idx="2">
                  <c:v>4.4561341887096903E-6</c:v>
                </c:pt>
                <c:pt idx="3">
                  <c:v>1.687721138806102E-2</c:v>
                </c:pt>
                <c:pt idx="4">
                  <c:v>4.1377809660183397E-3</c:v>
                </c:pt>
                <c:pt idx="5">
                  <c:v>5.7693051247716251E-3</c:v>
                </c:pt>
                <c:pt idx="6">
                  <c:v>2.8979991016709087E-3</c:v>
                </c:pt>
                <c:pt idx="7">
                  <c:v>6.704058442431768E-3</c:v>
                </c:pt>
                <c:pt idx="8">
                  <c:v>2.0856655822744283E-3</c:v>
                </c:pt>
                <c:pt idx="9">
                  <c:v>1.8707747056201961E-3</c:v>
                </c:pt>
                <c:pt idx="10">
                  <c:v>2.1420715222920265E-5</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2444787331360232E-2</c:v>
                </c:pt>
                <c:pt idx="1">
                  <c:v>2.0024846757613145E-2</c:v>
                </c:pt>
                <c:pt idx="2">
                  <c:v>1.5602969017663703E-2</c:v>
                </c:pt>
                <c:pt idx="3">
                  <c:v>2.4376710321411168E-2</c:v>
                </c:pt>
                <c:pt idx="4">
                  <c:v>3.9891229779347018E-2</c:v>
                </c:pt>
                <c:pt idx="5">
                  <c:v>5.4521440471678694E-2</c:v>
                </c:pt>
                <c:pt idx="6">
                  <c:v>8.4862000692681752E-2</c:v>
                </c:pt>
                <c:pt idx="7">
                  <c:v>0.11918993708171734</c:v>
                </c:pt>
                <c:pt idx="8">
                  <c:v>0.11432178604932393</c:v>
                </c:pt>
                <c:pt idx="9">
                  <c:v>3.2849354493915267E-2</c:v>
                </c:pt>
                <c:pt idx="10">
                  <c:v>9.1993412076656327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7.2895615689523123E-3</c:v>
                </c:pt>
                <c:pt idx="1">
                  <c:v>1.2191397881004248E-2</c:v>
                </c:pt>
                <c:pt idx="2">
                  <c:v>1.0974375492565613E-2</c:v>
                </c:pt>
                <c:pt idx="3">
                  <c:v>2.2957743157416563E-3</c:v>
                </c:pt>
                <c:pt idx="4">
                  <c:v>1.2578924651319585E-2</c:v>
                </c:pt>
                <c:pt idx="5">
                  <c:v>5.5726885091712086E-2</c:v>
                </c:pt>
                <c:pt idx="6">
                  <c:v>3.0004173992332232E-2</c:v>
                </c:pt>
                <c:pt idx="7">
                  <c:v>0.1044620805993903</c:v>
                </c:pt>
                <c:pt idx="8">
                  <c:v>8.336121691648106E-2</c:v>
                </c:pt>
                <c:pt idx="9">
                  <c:v>9.0957371374645851E-2</c:v>
                </c:pt>
                <c:pt idx="10">
                  <c:v>4.172937746034118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6.7037277176314197E-5</c:v>
                </c:pt>
                <c:pt idx="2">
                  <c:v>2.1039368592767134E-5</c:v>
                </c:pt>
                <c:pt idx="3">
                  <c:v>1.2804621056102856E-5</c:v>
                </c:pt>
                <c:pt idx="4">
                  <c:v>3.2882094847373367E-2</c:v>
                </c:pt>
                <c:pt idx="5">
                  <c:v>1.6265488739259478E-2</c:v>
                </c:pt>
                <c:pt idx="6">
                  <c:v>7.8624434563229401E-2</c:v>
                </c:pt>
                <c:pt idx="7">
                  <c:v>5.0416138591354513E-2</c:v>
                </c:pt>
                <c:pt idx="8">
                  <c:v>7.9057151473977558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3">
                  <c:v>5.2155196105875398E-3</c:v>
                </c:pt>
                <c:pt idx="4">
                  <c:v>1.9176191518417963E-3</c:v>
                </c:pt>
                <c:pt idx="5">
                  <c:v>2.2228582814683231E-5</c:v>
                </c:pt>
                <c:pt idx="6">
                  <c:v>2.1670370146516651E-2</c:v>
                </c:pt>
                <c:pt idx="7">
                  <c:v>3.1357634404897868E-3</c:v>
                </c:pt>
                <c:pt idx="8">
                  <c:v>3.4526980058321013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4.9221771107810119E-2</c:v>
                </c:pt>
                <c:pt idx="1">
                  <c:v>2.7556651454273242E-2</c:v>
                </c:pt>
                <c:pt idx="2">
                  <c:v>2.515716868317883E-2</c:v>
                </c:pt>
                <c:pt idx="3">
                  <c:v>1.7945751203475444E-2</c:v>
                </c:pt>
                <c:pt idx="4">
                  <c:v>1.743524173221063E-2</c:v>
                </c:pt>
                <c:pt idx="5">
                  <c:v>1.3183097831396064E-2</c:v>
                </c:pt>
                <c:pt idx="6">
                  <c:v>4.417723656846298E-2</c:v>
                </c:pt>
                <c:pt idx="7">
                  <c:v>4.457848043867136E-2</c:v>
                </c:pt>
                <c:pt idx="8">
                  <c:v>1.228981096736885E-2</c:v>
                </c:pt>
                <c:pt idx="9">
                  <c:v>9.7653933889606855E-3</c:v>
                </c:pt>
                <c:pt idx="10">
                  <c:v>8.4002652142177578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150705379299439E-2</c:v>
                </c:pt>
                <c:pt idx="1">
                  <c:v>9.0902853088647602E-3</c:v>
                </c:pt>
                <c:pt idx="2">
                  <c:v>1.6253323699152004E-2</c:v>
                </c:pt>
                <c:pt idx="3">
                  <c:v>1.2374473445219698E-2</c:v>
                </c:pt>
                <c:pt idx="4">
                  <c:v>5.2044058253641882E-2</c:v>
                </c:pt>
                <c:pt idx="5">
                  <c:v>9.1526042103984434E-2</c:v>
                </c:pt>
                <c:pt idx="6">
                  <c:v>0.20203294286153259</c:v>
                </c:pt>
                <c:pt idx="7">
                  <c:v>0.15911147347283777</c:v>
                </c:pt>
                <c:pt idx="8">
                  <c:v>0.36684529217071971</c:v>
                </c:pt>
                <c:pt idx="9">
                  <c:v>7.9215054891052752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oignon</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3">
                  <c:v>2.0899562649838795E-3</c:v>
                </c:pt>
                <c:pt idx="4">
                  <c:v>4.2185404740382765E-2</c:v>
                </c:pt>
                <c:pt idx="5">
                  <c:v>1.4575780542626026E-3</c:v>
                </c:pt>
                <c:pt idx="6">
                  <c:v>0.12407181931779919</c:v>
                </c:pt>
                <c:pt idx="7">
                  <c:v>2.5947318948741912E-2</c:v>
                </c:pt>
                <c:pt idx="8">
                  <c:v>0.13866626099566751</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1">
                  <c:v>1.2371282471877402E-3</c:v>
                </c:pt>
                <c:pt idx="2">
                  <c:v>1.3954287994129417E-2</c:v>
                </c:pt>
                <c:pt idx="3">
                  <c:v>5.5065899910778969E-3</c:v>
                </c:pt>
                <c:pt idx="4">
                  <c:v>5.8299284924079823E-3</c:v>
                </c:pt>
                <c:pt idx="5">
                  <c:v>7.9707656351761191E-2</c:v>
                </c:pt>
                <c:pt idx="6">
                  <c:v>2.6179522847495355E-2</c:v>
                </c:pt>
                <c:pt idx="7">
                  <c:v>8.0365178624578398E-2</c:v>
                </c:pt>
                <c:pt idx="8">
                  <c:v>0.12693046692371843</c:v>
                </c:pt>
                <c:pt idx="9">
                  <c:v>7.9215054891052752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2">
                  <c:v>1.4137223668398494E-7</c:v>
                </c:pt>
                <c:pt idx="3">
                  <c:v>2.2215637193197631E-7</c:v>
                </c:pt>
                <c:pt idx="4">
                  <c:v>1.3127421977798601E-7</c:v>
                </c:pt>
                <c:pt idx="6">
                  <c:v>2.4006328629155329E-2</c:v>
                </c:pt>
                <c:pt idx="7">
                  <c:v>1.0861124043585262E-3</c:v>
                </c:pt>
                <c:pt idx="8">
                  <c:v>7.850165019267774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1.150705379299439E-2</c:v>
                </c:pt>
                <c:pt idx="1">
                  <c:v>7.8531570616770206E-3</c:v>
                </c:pt>
                <c:pt idx="2">
                  <c:v>2.2988943327859031E-3</c:v>
                </c:pt>
                <c:pt idx="3">
                  <c:v>4.7777050327859885E-3</c:v>
                </c:pt>
                <c:pt idx="4">
                  <c:v>4.0285937466313648E-3</c:v>
                </c:pt>
                <c:pt idx="5">
                  <c:v>1.0360807697960639E-2</c:v>
                </c:pt>
                <c:pt idx="6">
                  <c:v>2.7775272067082742E-2</c:v>
                </c:pt>
                <c:pt idx="7">
                  <c:v>5.1712863495158932E-2</c:v>
                </c:pt>
                <c:pt idx="8">
                  <c:v>2.2746914058656045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4.1229236969787683E-2</c:v>
                </c:pt>
                <c:pt idx="1">
                  <c:v>3.4208146091019583E-2</c:v>
                </c:pt>
                <c:pt idx="2">
                  <c:v>4.638899137720838E-2</c:v>
                </c:pt>
                <c:pt idx="3">
                  <c:v>4.236303860922852E-2</c:v>
                </c:pt>
                <c:pt idx="4">
                  <c:v>7.3599001227352384E-2</c:v>
                </c:pt>
                <c:pt idx="5">
                  <c:v>0.21666215265832334</c:v>
                </c:pt>
                <c:pt idx="6">
                  <c:v>0.35850197330543981</c:v>
                </c:pt>
                <c:pt idx="7">
                  <c:v>0.11680761238296965</c:v>
                </c:pt>
                <c:pt idx="8">
                  <c:v>4.7250813869102577E-2</c:v>
                </c:pt>
                <c:pt idx="9">
                  <c:v>2.2988851810587341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1.2067234970202518E-4</c:v>
                </c:pt>
                <c:pt idx="1">
                  <c:v>2.8405607312913979E-6</c:v>
                </c:pt>
                <c:pt idx="2">
                  <c:v>2.000832835447843E-3</c:v>
                </c:pt>
                <c:pt idx="3">
                  <c:v>2.0922698191585174E-3</c:v>
                </c:pt>
                <c:pt idx="4">
                  <c:v>1.9837289047332017E-3</c:v>
                </c:pt>
                <c:pt idx="5">
                  <c:v>1.335072022992722E-2</c:v>
                </c:pt>
                <c:pt idx="6">
                  <c:v>0.20974885772815974</c:v>
                </c:pt>
                <c:pt idx="7">
                  <c:v>0.10680264267358276</c:v>
                </c:pt>
                <c:pt idx="8">
                  <c:v>5.3849702939730822E-3</c:v>
                </c:pt>
                <c:pt idx="9">
                  <c:v>1.2408671581430282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tara</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5.6932347279614364E-7</c:v>
                </c:pt>
                <c:pt idx="1">
                  <c:v>2.3792966706217691E-2</c:v>
                </c:pt>
                <c:pt idx="2">
                  <c:v>3.1812117972593569E-2</c:v>
                </c:pt>
                <c:pt idx="4">
                  <c:v>2.1253269203768297E-3</c:v>
                </c:pt>
                <c:pt idx="5">
                  <c:v>0.1233043866264559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u Pera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1.1224575664137333E-3</c:v>
                </c:pt>
                <c:pt idx="2">
                  <c:v>2.8526376568739032E-3</c:v>
                </c:pt>
                <c:pt idx="3">
                  <c:v>5.1450610165164013E-3</c:v>
                </c:pt>
                <c:pt idx="4">
                  <c:v>5.7721799067503875E-2</c:v>
                </c:pt>
                <c:pt idx="5">
                  <c:v>1.2534031764833841E-2</c:v>
                </c:pt>
                <c:pt idx="6">
                  <c:v>8.6587668068377394E-2</c:v>
                </c:pt>
                <c:pt idx="8">
                  <c:v>1.842608151745492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3.9985537730199132E-2</c:v>
                </c:pt>
                <c:pt idx="1">
                  <c:v>1.0412338824070604E-2</c:v>
                </c:pt>
                <c:pt idx="2">
                  <c:v>9.7234029122930648E-3</c:v>
                </c:pt>
                <c:pt idx="3">
                  <c:v>3.5125707773553602E-2</c:v>
                </c:pt>
                <c:pt idx="4">
                  <c:v>1.1768146334738484E-2</c:v>
                </c:pt>
                <c:pt idx="5">
                  <c:v>6.7473014037106302E-2</c:v>
                </c:pt>
                <c:pt idx="6">
                  <c:v>6.2165447508902738E-2</c:v>
                </c:pt>
                <c:pt idx="7">
                  <c:v>1.0004969709386895E-2</c:v>
                </c:pt>
                <c:pt idx="8">
                  <c:v>2.3439762057674576E-2</c:v>
                </c:pt>
                <c:pt idx="9">
                  <c:v>1.0580180229157059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5.3220514636903894E-2</c:v>
                </c:pt>
                <c:pt idx="1">
                  <c:v>1.2441037528871992E-2</c:v>
                </c:pt>
                <c:pt idx="2">
                  <c:v>8.7624574801509106E-2</c:v>
                </c:pt>
                <c:pt idx="3">
                  <c:v>3.0282854374379737E-2</c:v>
                </c:pt>
                <c:pt idx="4">
                  <c:v>0.14027776593737548</c:v>
                </c:pt>
                <c:pt idx="5">
                  <c:v>0.28950622024873895</c:v>
                </c:pt>
                <c:pt idx="6">
                  <c:v>0.21798642705429877</c:v>
                </c:pt>
                <c:pt idx="7">
                  <c:v>5.6581598744397013E-2</c:v>
                </c:pt>
                <c:pt idx="8">
                  <c:v>9.882715982471646E-2</c:v>
                </c:pt>
                <c:pt idx="9">
                  <c:v>1.3251846848808615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1.3375518511576435E-3</c:v>
                </c:pt>
                <c:pt idx="1">
                  <c:v>2.1602037164684789E-5</c:v>
                </c:pt>
                <c:pt idx="2">
                  <c:v>9.2131917006053315E-3</c:v>
                </c:pt>
                <c:pt idx="3">
                  <c:v>3.275023134431676E-5</c:v>
                </c:pt>
                <c:pt idx="4">
                  <c:v>1.4103430013893581E-3</c:v>
                </c:pt>
                <c:pt idx="5">
                  <c:v>4.3140155444401931E-2</c:v>
                </c:pt>
                <c:pt idx="6">
                  <c:v>0.11246984924594039</c:v>
                </c:pt>
                <c:pt idx="7">
                  <c:v>4.5377856469198716E-2</c:v>
                </c:pt>
                <c:pt idx="8">
                  <c:v>1.7636134591646855E-3</c:v>
                </c:pt>
                <c:pt idx="9">
                  <c:v>6.1438893951009125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tara</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7.1180255460291005E-3</c:v>
                </c:pt>
                <c:pt idx="2">
                  <c:v>5.0127102914921035E-2</c:v>
                </c:pt>
                <c:pt idx="3">
                  <c:v>1.7280858230420521E-3</c:v>
                </c:pt>
                <c:pt idx="4">
                  <c:v>2.6365247784431421E-2</c:v>
                </c:pt>
                <c:pt idx="5">
                  <c:v>0.10079556831121561</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u Pera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1">
                  <c:v>2.1212428994393153E-4</c:v>
                </c:pt>
                <c:pt idx="2">
                  <c:v>9.317537255124032E-3</c:v>
                </c:pt>
                <c:pt idx="3">
                  <c:v>2.6069029849810682E-4</c:v>
                </c:pt>
                <c:pt idx="4">
                  <c:v>6.6651696969245763E-2</c:v>
                </c:pt>
                <c:pt idx="5">
                  <c:v>2.5915848261273244E-2</c:v>
                </c:pt>
                <c:pt idx="6">
                  <c:v>7.5755991257501265E-2</c:v>
                </c:pt>
                <c:pt idx="8">
                  <c:v>2.0739305805420192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4.4764937239717154E-2</c:v>
                </c:pt>
                <c:pt idx="1">
                  <c:v>1.2207311201763375E-2</c:v>
                </c:pt>
                <c:pt idx="2">
                  <c:v>1.8966742930858708E-2</c:v>
                </c:pt>
                <c:pt idx="3">
                  <c:v>2.8261328021495263E-2</c:v>
                </c:pt>
                <c:pt idx="4">
                  <c:v>4.5850478182308925E-2</c:v>
                </c:pt>
                <c:pt idx="5">
                  <c:v>0.11965464823184818</c:v>
                </c:pt>
                <c:pt idx="6">
                  <c:v>2.9760586550857119E-2</c:v>
                </c:pt>
                <c:pt idx="7">
                  <c:v>1.1203742275198304E-2</c:v>
                </c:pt>
                <c:pt idx="8">
                  <c:v>7.6324240560131568E-2</c:v>
                </c:pt>
                <c:pt idx="9">
                  <c:v>7.1079574537077023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3.3E-3</c:v>
                </c:pt>
                <c:pt idx="1">
                  <c:v>7.6799999999999993E-2</c:v>
                </c:pt>
                <c:pt idx="2">
                  <c:v>0.13689999999999999</c:v>
                </c:pt>
                <c:pt idx="4">
                  <c:v>8.0000000000000004E-4</c:v>
                </c:pt>
                <c:pt idx="5">
                  <c:v>0.16589999999999999</c:v>
                </c:pt>
                <c:pt idx="6">
                  <c:v>0.12740000000000001</c:v>
                </c:pt>
                <c:pt idx="7">
                  <c:v>0.2137</c:v>
                </c:pt>
                <c:pt idx="8">
                  <c:v>0.2750000000000000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1847693416567174E-2</c:v>
                </c:pt>
                <c:pt idx="1">
                  <c:v>8.6420771688770298E-2</c:v>
                </c:pt>
                <c:pt idx="2">
                  <c:v>1.497950272481768E-2</c:v>
                </c:pt>
                <c:pt idx="3">
                  <c:v>3.8435745481682639E-2</c:v>
                </c:pt>
                <c:pt idx="4">
                  <c:v>9.2213614362690738E-2</c:v>
                </c:pt>
                <c:pt idx="5">
                  <c:v>0.23543198442819935</c:v>
                </c:pt>
                <c:pt idx="6">
                  <c:v>0.18117729862300258</c:v>
                </c:pt>
                <c:pt idx="7">
                  <c:v>0.20368518910803779</c:v>
                </c:pt>
                <c:pt idx="8">
                  <c:v>9.7217979514334779E-2</c:v>
                </c:pt>
                <c:pt idx="9">
                  <c:v>2.8590220651896904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2">
                  <c:v>4.2428664933548254E-3</c:v>
                </c:pt>
                <c:pt idx="3">
                  <c:v>9.8194024376712114E-3</c:v>
                </c:pt>
                <c:pt idx="4">
                  <c:v>1.1778201192094651E-2</c:v>
                </c:pt>
                <c:pt idx="5">
                  <c:v>2.2363432229188829E-6</c:v>
                </c:pt>
                <c:pt idx="6">
                  <c:v>1.1011135466633473E-2</c:v>
                </c:pt>
                <c:pt idx="7">
                  <c:v>0.19000214688949399</c:v>
                </c:pt>
                <c:pt idx="8">
                  <c:v>4.5250168772540678E-2</c:v>
                </c:pt>
                <c:pt idx="9">
                  <c:v>1.8204166906954609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tara</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3.0456139789913159E-3</c:v>
                </c:pt>
                <c:pt idx="1">
                  <c:v>7.5389509133130556E-2</c:v>
                </c:pt>
                <c:pt idx="2">
                  <c:v>7.0250202079780166E-3</c:v>
                </c:pt>
                <c:pt idx="4">
                  <c:v>2.5381543944715312E-2</c:v>
                </c:pt>
                <c:pt idx="5">
                  <c:v>0.1567708003234799</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u Pera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3">
                  <c:v>5.3686511881263308E-3</c:v>
                </c:pt>
                <c:pt idx="4">
                  <c:v>3.5295110706602621E-2</c:v>
                </c:pt>
                <c:pt idx="6">
                  <c:v>0.12133356286779519</c:v>
                </c:pt>
                <c:pt idx="7">
                  <c:v>5.0100273823574029E-3</c:v>
                </c:pt>
                <c:pt idx="8">
                  <c:v>2.720587661513941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1.8802079437575857E-2</c:v>
                </c:pt>
                <c:pt idx="1">
                  <c:v>1.1031262555639744E-2</c:v>
                </c:pt>
                <c:pt idx="2">
                  <c:v>3.7116160234848396E-3</c:v>
                </c:pt>
                <c:pt idx="3">
                  <c:v>2.3247691855885096E-2</c:v>
                </c:pt>
                <c:pt idx="4">
                  <c:v>1.9758758519278136E-2</c:v>
                </c:pt>
                <c:pt idx="5">
                  <c:v>7.8658947761496567E-2</c:v>
                </c:pt>
                <c:pt idx="6">
                  <c:v>4.8832600288573919E-2</c:v>
                </c:pt>
                <c:pt idx="7">
                  <c:v>8.6730148361864323E-3</c:v>
                </c:pt>
                <c:pt idx="8">
                  <c:v>2.4761934126654679E-2</c:v>
                </c:pt>
                <c:pt idx="9">
                  <c:v>1.0386053744942296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4">
                  <c:v>1.6999999999999999E-3</c:v>
                </c:pt>
                <c:pt idx="5">
                  <c:v>0.23449999999999999</c:v>
                </c:pt>
                <c:pt idx="6">
                  <c:v>8.2100000000000006E-2</c:v>
                </c:pt>
                <c:pt idx="7">
                  <c:v>0.1583</c:v>
                </c:pt>
                <c:pt idx="8">
                  <c:v>0.4698</c:v>
                </c:pt>
                <c:pt idx="9">
                  <c:v>4.8300000000000003E-2</c:v>
                </c:pt>
                <c:pt idx="10">
                  <c:v>5.3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8797801642155176E-2</c:v>
                </c:pt>
                <c:pt idx="1">
                  <c:v>1.5499323616429531E-2</c:v>
                </c:pt>
                <c:pt idx="2">
                  <c:v>2.0328229017232035E-2</c:v>
                </c:pt>
                <c:pt idx="3">
                  <c:v>4.4263789690257418E-2</c:v>
                </c:pt>
                <c:pt idx="4">
                  <c:v>6.5094507892549974E-2</c:v>
                </c:pt>
                <c:pt idx="5">
                  <c:v>0.10204826864942469</c:v>
                </c:pt>
                <c:pt idx="6">
                  <c:v>0.12638325694294628</c:v>
                </c:pt>
                <c:pt idx="7">
                  <c:v>0.17605578638733341</c:v>
                </c:pt>
                <c:pt idx="8">
                  <c:v>0.25472703021903487</c:v>
                </c:pt>
                <c:pt idx="9">
                  <c:v>9.8964213929595687E-2</c:v>
                </c:pt>
                <c:pt idx="10">
                  <c:v>7.7837792013041002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4">
                  <c:v>3.6725119511910254E-5</c:v>
                </c:pt>
                <c:pt idx="5">
                  <c:v>5.046177697882767E-3</c:v>
                </c:pt>
                <c:pt idx="6">
                  <c:v>1.767732023351506E-3</c:v>
                </c:pt>
                <c:pt idx="7">
                  <c:v>3.4072045520624071E-3</c:v>
                </c:pt>
                <c:pt idx="8">
                  <c:v>1.011097879677797E-2</c:v>
                </c:pt>
                <c:pt idx="9">
                  <c:v>1.0393311528785402E-3</c:v>
                </c:pt>
                <c:pt idx="10">
                  <c:v>1.1484155452712594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4.0398617792554474E-4</c:v>
                </c:pt>
                <c:pt idx="1">
                  <c:v>1.5023688751668372E-3</c:v>
                </c:pt>
                <c:pt idx="2">
                  <c:v>3.6224347183356647E-3</c:v>
                </c:pt>
                <c:pt idx="3">
                  <c:v>5.4616108723709719E-3</c:v>
                </c:pt>
                <c:pt idx="4">
                  <c:v>1.2016856337763338E-2</c:v>
                </c:pt>
                <c:pt idx="5">
                  <c:v>1.6731930957308794E-2</c:v>
                </c:pt>
                <c:pt idx="6">
                  <c:v>3.3011185583235098E-2</c:v>
                </c:pt>
                <c:pt idx="7">
                  <c:v>5.9070991134438602E-2</c:v>
                </c:pt>
                <c:pt idx="8">
                  <c:v>0.11395084842790201</c:v>
                </c:pt>
                <c:pt idx="9">
                  <c:v>7.0066503966677421E-2</c:v>
                </c:pt>
                <c:pt idx="10">
                  <c:v>6.4885784713214989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3.3378675212778537E-5</c:v>
                </c:pt>
                <c:pt idx="1">
                  <c:v>1.6486775555425614E-4</c:v>
                </c:pt>
                <c:pt idx="2">
                  <c:v>4.2300239536368755E-4</c:v>
                </c:pt>
                <c:pt idx="3">
                  <c:v>3.4460464203486509E-4</c:v>
                </c:pt>
                <c:pt idx="4">
                  <c:v>6.4430406267969634E-4</c:v>
                </c:pt>
                <c:pt idx="5">
                  <c:v>2.331756587641242E-2</c:v>
                </c:pt>
                <c:pt idx="6">
                  <c:v>1.0331067707705442E-2</c:v>
                </c:pt>
                <c:pt idx="7">
                  <c:v>3.5510508395162868E-3</c:v>
                </c:pt>
                <c:pt idx="8">
                  <c:v>1.4281102748302898E-3</c:v>
                </c:pt>
                <c:pt idx="10">
                  <c:v>9.7770979145132382E-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oign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6.2043767736519298E-5</c:v>
                </c:pt>
                <c:pt idx="2">
                  <c:v>1.3890327595725109E-4</c:v>
                </c:pt>
                <c:pt idx="3">
                  <c:v>4.5028083732790472E-8</c:v>
                </c:pt>
                <c:pt idx="4">
                  <c:v>5.6800483247226828E-3</c:v>
                </c:pt>
                <c:pt idx="5">
                  <c:v>6.8682837053749736E-5</c:v>
                </c:pt>
                <c:pt idx="6">
                  <c:v>1.348149854018438E-2</c:v>
                </c:pt>
                <c:pt idx="7">
                  <c:v>3.9143745136366584E-3</c:v>
                </c:pt>
                <c:pt idx="8">
                  <c:v>1.976473814294425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1.8298393021280331E-2</c:v>
                </c:pt>
                <c:pt idx="1">
                  <c:v>1.3832086985708439E-2</c:v>
                </c:pt>
                <c:pt idx="2">
                  <c:v>1.6143888627575435E-2</c:v>
                </c:pt>
                <c:pt idx="3">
                  <c:v>3.8457529147767851E-2</c:v>
                </c:pt>
                <c:pt idx="4">
                  <c:v>4.6716574047872335E-2</c:v>
                </c:pt>
                <c:pt idx="5">
                  <c:v>5.6883911280766947E-2</c:v>
                </c:pt>
                <c:pt idx="6">
                  <c:v>6.7791773088469842E-2</c:v>
                </c:pt>
                <c:pt idx="7">
                  <c:v>0.10611216534767945</c:v>
                </c:pt>
                <c:pt idx="8">
                  <c:v>0.10947235457658032</c:v>
                </c:pt>
                <c:pt idx="9">
                  <c:v>2.7858378810039726E-2</c:v>
                </c:pt>
                <c:pt idx="10">
                  <c:v>1.282738864738436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4">
                  <c:v>7.0000000000000001E-3</c:v>
                </c:pt>
                <c:pt idx="5">
                  <c:v>0.1542</c:v>
                </c:pt>
                <c:pt idx="6">
                  <c:v>0.1545</c:v>
                </c:pt>
                <c:pt idx="7">
                  <c:v>0.28199999999999997</c:v>
                </c:pt>
                <c:pt idx="8">
                  <c:v>0.34370000000000001</c:v>
                </c:pt>
                <c:pt idx="9">
                  <c:v>5.2400000000000002E-2</c:v>
                </c:pt>
                <c:pt idx="10">
                  <c:v>6.3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3933771819624458E-2</c:v>
                </c:pt>
                <c:pt idx="1">
                  <c:v>2.1306896673764057E-2</c:v>
                </c:pt>
                <c:pt idx="2">
                  <c:v>2.5548831278795543E-2</c:v>
                </c:pt>
                <c:pt idx="3">
                  <c:v>5.7767970366862181E-2</c:v>
                </c:pt>
                <c:pt idx="4">
                  <c:v>7.3278076667783243E-2</c:v>
                </c:pt>
                <c:pt idx="5">
                  <c:v>0.11719239595450313</c:v>
                </c:pt>
                <c:pt idx="6">
                  <c:v>0.13363631496397968</c:v>
                </c:pt>
                <c:pt idx="7">
                  <c:v>0.18577181469164547</c:v>
                </c:pt>
                <c:pt idx="8">
                  <c:v>0.2060222230819663</c:v>
                </c:pt>
                <c:pt idx="9">
                  <c:v>0.13022682695731488</c:v>
                </c:pt>
                <c:pt idx="10">
                  <c:v>2.5314877543761053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4">
                  <c:v>1.6782865704013711E-4</c:v>
                </c:pt>
                <c:pt idx="5">
                  <c:v>3.7133906303849374E-3</c:v>
                </c:pt>
                <c:pt idx="6">
                  <c:v>3.7208927261637654E-3</c:v>
                </c:pt>
                <c:pt idx="7">
                  <c:v>6.7927362415386603E-3</c:v>
                </c:pt>
                <c:pt idx="8">
                  <c:v>8.2783920757113615E-3</c:v>
                </c:pt>
                <c:pt idx="9">
                  <c:v>1.2625412475544438E-3</c:v>
                </c:pt>
                <c:pt idx="10">
                  <c:v>1.5115844822591247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1.4571967969247569E-3</c:v>
                </c:pt>
                <c:pt idx="1">
                  <c:v>2.0602900256785073E-3</c:v>
                </c:pt>
                <c:pt idx="2">
                  <c:v>4.4247749808156798E-3</c:v>
                </c:pt>
                <c:pt idx="3">
                  <c:v>7.010573015959338E-3</c:v>
                </c:pt>
                <c:pt idx="4">
                  <c:v>9.7034678592044961E-3</c:v>
                </c:pt>
                <c:pt idx="5">
                  <c:v>3.1744045664047635E-2</c:v>
                </c:pt>
                <c:pt idx="6">
                  <c:v>3.5501116557112716E-2</c:v>
                </c:pt>
                <c:pt idx="7">
                  <c:v>4.9095537610288759E-2</c:v>
                </c:pt>
                <c:pt idx="8">
                  <c:v>7.8669112803194455E-2</c:v>
                </c:pt>
                <c:pt idx="9">
                  <c:v>9.6870314949811021E-2</c:v>
                </c:pt>
                <c:pt idx="10">
                  <c:v>1.6577214189843828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4.1399525200888969E-8</c:v>
                </c:pt>
                <c:pt idx="1">
                  <c:v>2.2406803022894474E-4</c:v>
                </c:pt>
                <c:pt idx="2">
                  <c:v>1.0817031033526941E-3</c:v>
                </c:pt>
                <c:pt idx="3">
                  <c:v>5.6771419814192385E-4</c:v>
                </c:pt>
                <c:pt idx="4">
                  <c:v>5.1141774378958161E-3</c:v>
                </c:pt>
                <c:pt idx="5">
                  <c:v>2.0864599200890559E-2</c:v>
                </c:pt>
                <c:pt idx="6">
                  <c:v>8.1406571098990698E-3</c:v>
                </c:pt>
                <c:pt idx="7">
                  <c:v>3.6307872868295635E-3</c:v>
                </c:pt>
                <c:pt idx="8">
                  <c:v>1.1776596755819545E-3</c:v>
                </c:pt>
                <c:pt idx="9">
                  <c:v>6.3102912654688339E-7</c:v>
                </c:pt>
                <c:pt idx="10">
                  <c:v>7.611239981630102E-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a Vache Qui Ri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2.5956247769890692E-6</c:v>
                </c:pt>
                <c:pt idx="1">
                  <c:v>6.0844756734639851E-7</c:v>
                </c:pt>
                <c:pt idx="2">
                  <c:v>4.2189879772905938E-6</c:v>
                </c:pt>
                <c:pt idx="3">
                  <c:v>1.5979041231933649E-2</c:v>
                </c:pt>
                <c:pt idx="4">
                  <c:v>3.917576852268922E-3</c:v>
                </c:pt>
                <c:pt idx="5">
                  <c:v>5.4622746820334241E-3</c:v>
                </c:pt>
                <c:pt idx="6">
                  <c:v>2.7437736051859835E-3</c:v>
                </c:pt>
                <c:pt idx="7">
                  <c:v>6.3472823685013615E-3</c:v>
                </c:pt>
                <c:pt idx="8">
                  <c:v>1.9746707894388021E-3</c:v>
                </c:pt>
                <c:pt idx="9">
                  <c:v>1.7712159591666999E-3</c:v>
                </c:pt>
                <c:pt idx="10">
                  <c:v>2.0280749224168819E-5</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2473937998397513E-2</c:v>
                </c:pt>
                <c:pt idx="1">
                  <c:v>1.9021930170289258E-2</c:v>
                </c:pt>
                <c:pt idx="2">
                  <c:v>2.0038134206649877E-2</c:v>
                </c:pt>
                <c:pt idx="3">
                  <c:v>3.4210641920827269E-2</c:v>
                </c:pt>
                <c:pt idx="4">
                  <c:v>5.4375025861373862E-2</c:v>
                </c:pt>
                <c:pt idx="5">
                  <c:v>5.5408085777146572E-2</c:v>
                </c:pt>
                <c:pt idx="6">
                  <c:v>8.3529874965618159E-2</c:v>
                </c:pt>
                <c:pt idx="7">
                  <c:v>0.11990547118448712</c:v>
                </c:pt>
                <c:pt idx="8">
                  <c:v>0.11592238773803973</c:v>
                </c:pt>
                <c:pt idx="9">
                  <c:v>3.0322123771656172E-2</c:v>
                </c:pt>
                <c:pt idx="10">
                  <c:v>8.5586129164855109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4">
                  <c:v>8.9999999999999998E-4</c:v>
                </c:pt>
                <c:pt idx="5">
                  <c:v>0.2742</c:v>
                </c:pt>
                <c:pt idx="6">
                  <c:v>0.1144</c:v>
                </c:pt>
                <c:pt idx="7">
                  <c:v>8.4000000000000005E-2</c:v>
                </c:pt>
                <c:pt idx="8">
                  <c:v>0.46870000000000001</c:v>
                </c:pt>
                <c:pt idx="9">
                  <c:v>5.3900000000000003E-2</c:v>
                </c:pt>
                <c:pt idx="10">
                  <c:v>4.0000000000000001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6527667394670337E-2</c:v>
                </c:pt>
                <c:pt idx="1">
                  <c:v>1.059839761131851E-2</c:v>
                </c:pt>
                <c:pt idx="2">
                  <c:v>1.7161497889988782E-2</c:v>
                </c:pt>
                <c:pt idx="3">
                  <c:v>6.6576011417078446E-2</c:v>
                </c:pt>
                <c:pt idx="4">
                  <c:v>4.9079788619134333E-2</c:v>
                </c:pt>
                <c:pt idx="5">
                  <c:v>0.11852206218782732</c:v>
                </c:pt>
                <c:pt idx="6">
                  <c:v>0.13215882489295883</c:v>
                </c:pt>
                <c:pt idx="7">
                  <c:v>0.17983556640418591</c:v>
                </c:pt>
                <c:pt idx="8">
                  <c:v>0.23095884548151405</c:v>
                </c:pt>
                <c:pt idx="9">
                  <c:v>0.10991926140650649</c:v>
                </c:pt>
                <c:pt idx="10">
                  <c:v>6.8662076694817026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5466252732939898E-2</c:v>
                </c:pt>
                <c:pt idx="1">
                  <c:v>9.9224733000987369E-3</c:v>
                </c:pt>
                <c:pt idx="2">
                  <c:v>1.6234090341292841E-2</c:v>
                </c:pt>
                <c:pt idx="3">
                  <c:v>7.892262515697393E-2</c:v>
                </c:pt>
                <c:pt idx="4">
                  <c:v>6.1134484543004734E-2</c:v>
                </c:pt>
                <c:pt idx="5">
                  <c:v>0.11702285157285876</c:v>
                </c:pt>
                <c:pt idx="6">
                  <c:v>0.12607050273798581</c:v>
                </c:pt>
                <c:pt idx="7">
                  <c:v>0.17930534937108047</c:v>
                </c:pt>
                <c:pt idx="8">
                  <c:v>0.228569980379285</c:v>
                </c:pt>
                <c:pt idx="9">
                  <c:v>0.10314664132259939</c:v>
                </c:pt>
                <c:pt idx="10">
                  <c:v>6.4204748541880435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4">
                  <c:v>2.8766119220219094E-5</c:v>
                </c:pt>
                <c:pt idx="5">
                  <c:v>8.9525360984545194E-3</c:v>
                </c:pt>
                <c:pt idx="6">
                  <c:v>3.7349618878602113E-3</c:v>
                </c:pt>
                <c:pt idx="7">
                  <c:v>2.7415622541545428E-3</c:v>
                </c:pt>
                <c:pt idx="8">
                  <c:v>1.5305374222457263E-2</c:v>
                </c:pt>
                <c:pt idx="9">
                  <c:v>1.7616601058001828E-3</c:v>
                </c:pt>
                <c:pt idx="10">
                  <c:v>1.2950202085768901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4.1297523561927022E-5</c:v>
                </c:pt>
                <c:pt idx="1">
                  <c:v>1.9950223407859868E-4</c:v>
                </c:pt>
                <c:pt idx="2">
                  <c:v>2.6655053310350582E-3</c:v>
                </c:pt>
                <c:pt idx="3">
                  <c:v>1.8660401170506352E-2</c:v>
                </c:pt>
                <c:pt idx="4">
                  <c:v>8.270136482688031E-3</c:v>
                </c:pt>
                <c:pt idx="5">
                  <c:v>1.4405643786707724E-2</c:v>
                </c:pt>
                <c:pt idx="6">
                  <c:v>2.3493723978327451E-2</c:v>
                </c:pt>
                <c:pt idx="7">
                  <c:v>5.3481634791875496E-2</c:v>
                </c:pt>
                <c:pt idx="8">
                  <c:v>6.7868334282960602E-2</c:v>
                </c:pt>
                <c:pt idx="9">
                  <c:v>7.0802280022744218E-2</c:v>
                </c:pt>
                <c:pt idx="10">
                  <c:v>5.3710851335794847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7.4163794676428485E-7</c:v>
                </c:pt>
                <c:pt idx="1">
                  <c:v>1.274120981348993E-5</c:v>
                </c:pt>
                <c:pt idx="2">
                  <c:v>7.5412706473183518E-4</c:v>
                </c:pt>
                <c:pt idx="3">
                  <c:v>8.6616806586044227E-4</c:v>
                </c:pt>
                <c:pt idx="4">
                  <c:v>4.0855891175820939E-3</c:v>
                </c:pt>
                <c:pt idx="5">
                  <c:v>2.4586747056750444E-2</c:v>
                </c:pt>
                <c:pt idx="6">
                  <c:v>1.0084142240498322E-2</c:v>
                </c:pt>
                <c:pt idx="7">
                  <c:v>6.8016234129374869E-3</c:v>
                </c:pt>
                <c:pt idx="8">
                  <c:v>6.3994084331423233E-4</c:v>
                </c:pt>
                <c:pt idx="9">
                  <c:v>2.6152496017477414E-6</c:v>
                </c:pt>
                <c:pt idx="10">
                  <c:v>1.4800230955164457E-7</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oign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3">
                  <c:v>3.3661092308763979E-4</c:v>
                </c:pt>
                <c:pt idx="4">
                  <c:v>6.7944331029316865E-3</c:v>
                </c:pt>
                <c:pt idx="5">
                  <c:v>2.3475931173201135E-4</c:v>
                </c:pt>
                <c:pt idx="6">
                  <c:v>1.9983159614131631E-2</c:v>
                </c:pt>
                <c:pt idx="7">
                  <c:v>4.1791070604306601E-3</c:v>
                </c:pt>
                <c:pt idx="8">
                  <c:v>2.233375831681494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1.5424213571431209E-2</c:v>
                </c:pt>
                <c:pt idx="1">
                  <c:v>9.710229856206648E-3</c:v>
                </c:pt>
                <c:pt idx="2">
                  <c:v>1.2814457945525945E-2</c:v>
                </c:pt>
                <c:pt idx="3">
                  <c:v>5.90594449975195E-2</c:v>
                </c:pt>
                <c:pt idx="4">
                  <c:v>4.1955559720582701E-2</c:v>
                </c:pt>
                <c:pt idx="5">
                  <c:v>6.884316531921407E-2</c:v>
                </c:pt>
                <c:pt idx="6">
                  <c:v>6.8774515017168192E-2</c:v>
                </c:pt>
                <c:pt idx="7">
                  <c:v>0.11210142185168227</c:v>
                </c:pt>
                <c:pt idx="8">
                  <c:v>0.12242257271373798</c:v>
                </c:pt>
                <c:pt idx="9">
                  <c:v>3.0580085944453238E-2</c:v>
                </c:pt>
                <c:pt idx="10">
                  <c:v>1.0364247182918347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4">
                  <c:v>2.0999999999999999E-3</c:v>
                </c:pt>
                <c:pt idx="5">
                  <c:v>7.0499999999999993E-2</c:v>
                </c:pt>
                <c:pt idx="6">
                  <c:v>9.3600000000000003E-2</c:v>
                </c:pt>
                <c:pt idx="7">
                  <c:v>0.1943</c:v>
                </c:pt>
                <c:pt idx="8">
                  <c:v>0.5736</c:v>
                </c:pt>
                <c:pt idx="9">
                  <c:v>5.9299999999999999E-2</c:v>
                </c:pt>
                <c:pt idx="10">
                  <c:v>6.6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87891005521236E-2</c:v>
                </c:pt>
                <c:pt idx="1">
                  <c:v>1.6251035103638078E-2</c:v>
                </c:pt>
                <c:pt idx="2">
                  <c:v>2.1266939372631518E-2</c:v>
                </c:pt>
                <c:pt idx="3">
                  <c:v>3.9450724674471832E-2</c:v>
                </c:pt>
                <c:pt idx="4">
                  <c:v>5.1534564696052484E-2</c:v>
                </c:pt>
                <c:pt idx="5">
                  <c:v>0.10248226676541282</c:v>
                </c:pt>
                <c:pt idx="6">
                  <c:v>0.13074905745117735</c:v>
                </c:pt>
                <c:pt idx="7">
                  <c:v>0.17785855434784298</c:v>
                </c:pt>
                <c:pt idx="8">
                  <c:v>0.25638873725251132</c:v>
                </c:pt>
                <c:pt idx="9">
                  <c:v>0.10346326897165924</c:v>
                </c:pt>
                <c:pt idx="10">
                  <c:v>8.1765750812478777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4">
                  <c:v>3.8579973521078677E-5</c:v>
                </c:pt>
                <c:pt idx="5">
                  <c:v>1.2986296548917224E-3</c:v>
                </c:pt>
                <c:pt idx="6">
                  <c:v>1.7245883591360195E-3</c:v>
                </c:pt>
                <c:pt idx="7">
                  <c:v>3.5792902282274709E-3</c:v>
                </c:pt>
                <c:pt idx="8">
                  <c:v>1.0563633147490141E-2</c:v>
                </c:pt>
                <c:pt idx="9">
                  <c:v>1.0918240400737799E-3</c:v>
                </c:pt>
                <c:pt idx="10">
                  <c:v>1.2064178937087345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4.1504876877430734E-4</c:v>
                </c:pt>
                <c:pt idx="1">
                  <c:v>1.5782481362390664E-3</c:v>
                </c:pt>
                <c:pt idx="2">
                  <c:v>3.8053908979085245E-3</c:v>
                </c:pt>
                <c:pt idx="3">
                  <c:v>5.6844741696043454E-3</c:v>
                </c:pt>
                <c:pt idx="4">
                  <c:v>1.2580806897340717E-2</c:v>
                </c:pt>
                <c:pt idx="5">
                  <c:v>1.7577000752309144E-2</c:v>
                </c:pt>
                <c:pt idx="6">
                  <c:v>3.4004399743729707E-2</c:v>
                </c:pt>
                <c:pt idx="7">
                  <c:v>5.9836479134632976E-2</c:v>
                </c:pt>
                <c:pt idx="8">
                  <c:v>0.11951646742528879</c:v>
                </c:pt>
                <c:pt idx="9">
                  <c:v>7.3474756220324428E-2</c:v>
                </c:pt>
                <c:pt idx="10">
                  <c:v>6.8159584098438503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3.5064512328136981E-5</c:v>
                </c:pt>
                <c:pt idx="1">
                  <c:v>1.7319463430745495E-4</c:v>
                </c:pt>
                <c:pt idx="2">
                  <c:v>4.4436672853280707E-4</c:v>
                </c:pt>
                <c:pt idx="3">
                  <c:v>3.6200938599081396E-4</c:v>
                </c:pt>
                <c:pt idx="4">
                  <c:v>6.7684554898847092E-4</c:v>
                </c:pt>
                <c:pt idx="5">
                  <c:v>2.4495252460546905E-2</c:v>
                </c:pt>
                <c:pt idx="6">
                  <c:v>1.0852852867598883E-2</c:v>
                </c:pt>
                <c:pt idx="7">
                  <c:v>3.7304016755102054E-3</c:v>
                </c:pt>
                <c:pt idx="8">
                  <c:v>1.5002390004548454E-3</c:v>
                </c:pt>
                <c:pt idx="10">
                  <c:v>1.0270904047911544E-5</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oign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6.5177375818929352E-5</c:v>
                </c:pt>
                <c:pt idx="2">
                  <c:v>1.4591878201196599E-4</c:v>
                </c:pt>
                <c:pt idx="3">
                  <c:v>4.7302290671990534E-8</c:v>
                </c:pt>
                <c:pt idx="4">
                  <c:v>5.966927184407958E-3</c:v>
                </c:pt>
                <c:pt idx="5">
                  <c:v>5.7078097410868578E-7</c:v>
                </c:pt>
                <c:pt idx="6">
                  <c:v>1.4162400657024312E-2</c:v>
                </c:pt>
                <c:pt idx="7">
                  <c:v>4.1120755247293786E-3</c:v>
                </c:pt>
                <c:pt idx="8">
                  <c:v>2.0762984146547182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1.8273809895202223E-2</c:v>
                </c:pt>
                <c:pt idx="1">
                  <c:v>1.4499592333091558E-2</c:v>
                </c:pt>
                <c:pt idx="2">
                  <c:v>1.6871262964178221E-2</c:v>
                </c:pt>
                <c:pt idx="3">
                  <c:v>3.3404193816585999E-2</c:v>
                </c:pt>
                <c:pt idx="4">
                  <c:v>3.2271405091794263E-2</c:v>
                </c:pt>
                <c:pt idx="5">
                  <c:v>5.9110813116690947E-2</c:v>
                </c:pt>
                <c:pt idx="6">
                  <c:v>7.0004815823688421E-2</c:v>
                </c:pt>
                <c:pt idx="7">
                  <c:v>0.10660030778474296</c:v>
                </c:pt>
                <c:pt idx="8">
                  <c:v>0.10404541353273036</c:v>
                </c:pt>
                <c:pt idx="9">
                  <c:v>2.8896688711261029E-2</c:v>
                </c:pt>
                <c:pt idx="10">
                  <c:v>1.3475254020621502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4">
                  <c:v>2E-3</c:v>
                </c:pt>
                <c:pt idx="5">
                  <c:v>3.1899999999999998E-2</c:v>
                </c:pt>
                <c:pt idx="6">
                  <c:v>0.1206</c:v>
                </c:pt>
                <c:pt idx="7">
                  <c:v>0.35149999999999998</c:v>
                </c:pt>
                <c:pt idx="8">
                  <c:v>0.4209</c:v>
                </c:pt>
                <c:pt idx="9">
                  <c:v>6.5299999999999997E-2</c:v>
                </c:pt>
                <c:pt idx="10">
                  <c:v>7.7999999999999996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398673961529265E-2</c:v>
                </c:pt>
                <c:pt idx="1">
                  <c:v>2.2440013185811045E-2</c:v>
                </c:pt>
                <c:pt idx="2">
                  <c:v>2.5308299426034544E-2</c:v>
                </c:pt>
                <c:pt idx="3">
                  <c:v>5.3762350004310372E-2</c:v>
                </c:pt>
                <c:pt idx="4">
                  <c:v>6.0479768899024261E-2</c:v>
                </c:pt>
                <c:pt idx="5">
                  <c:v>0.11906086687087766</c:v>
                </c:pt>
                <c:pt idx="6">
                  <c:v>0.13389055283916435</c:v>
                </c:pt>
                <c:pt idx="7">
                  <c:v>0.18936383046379759</c:v>
                </c:pt>
                <c:pt idx="8">
                  <c:v>0.20795372780999538</c:v>
                </c:pt>
                <c:pt idx="9">
                  <c:v>0.13703616353638812</c:v>
                </c:pt>
                <c:pt idx="10">
                  <c:v>2.671768734930402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4">
                  <c:v>4.171911535281731E-5</c:v>
                </c:pt>
                <c:pt idx="5">
                  <c:v>6.502139779190402E-4</c:v>
                </c:pt>
                <c:pt idx="6">
                  <c:v>2.4618690465788855E-3</c:v>
                </c:pt>
                <c:pt idx="7">
                  <c:v>7.1745509500708649E-3</c:v>
                </c:pt>
                <c:pt idx="8">
                  <c:v>8.5914969433410551E-3</c:v>
                </c:pt>
                <c:pt idx="9">
                  <c:v>1.333507762564556E-3</c:v>
                </c:pt>
                <c:pt idx="10">
                  <c:v>1.5965495343372898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1.5391047572087941E-3</c:v>
                </c:pt>
                <c:pt idx="1">
                  <c:v>2.1760974128159269E-3</c:v>
                </c:pt>
                <c:pt idx="2">
                  <c:v>4.6734883283602981E-3</c:v>
                </c:pt>
                <c:pt idx="3">
                  <c:v>7.4046321693773025E-3</c:v>
                </c:pt>
                <c:pt idx="4">
                  <c:v>1.024889265131663E-2</c:v>
                </c:pt>
                <c:pt idx="5">
                  <c:v>3.3528355125194316E-2</c:v>
                </c:pt>
                <c:pt idx="6">
                  <c:v>3.4686229188508416E-2</c:v>
                </c:pt>
                <c:pt idx="7">
                  <c:v>5.1855161672868022E-2</c:v>
                </c:pt>
                <c:pt idx="8">
                  <c:v>8.3091045777973854E-2</c:v>
                </c:pt>
                <c:pt idx="9">
                  <c:v>0.10231532411148089</c:v>
                </c:pt>
                <c:pt idx="10">
                  <c:v>1.7488886364232032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4.3726562065839961E-8</c:v>
                </c:pt>
                <c:pt idx="1">
                  <c:v>2.3666272942101448E-4</c:v>
                </c:pt>
                <c:pt idx="2">
                  <c:v>1.1425048392716256E-3</c:v>
                </c:pt>
                <c:pt idx="3">
                  <c:v>5.9962499570353405E-4</c:v>
                </c:pt>
                <c:pt idx="4">
                  <c:v>5.4016415905433594E-3</c:v>
                </c:pt>
                <c:pt idx="5">
                  <c:v>2.2037382977450795E-2</c:v>
                </c:pt>
                <c:pt idx="6">
                  <c:v>8.5982374591358716E-3</c:v>
                </c:pt>
                <c:pt idx="7">
                  <c:v>3.8348711700202424E-3</c:v>
                </c:pt>
                <c:pt idx="8">
                  <c:v>1.2438550598562307E-3</c:v>
                </c:pt>
                <c:pt idx="9">
                  <c:v>6.6649880967022722E-7</c:v>
                </c:pt>
                <c:pt idx="10">
                  <c:v>8.0390621834379105E-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a Vache Qui Ri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2.7415229367946326E-6</c:v>
                </c:pt>
                <c:pt idx="1">
                  <c:v>6.426479576343146E-7</c:v>
                </c:pt>
                <c:pt idx="2">
                  <c:v>4.4561341887096903E-6</c:v>
                </c:pt>
                <c:pt idx="3">
                  <c:v>1.687721138806102E-2</c:v>
                </c:pt>
                <c:pt idx="4">
                  <c:v>4.1377809660183397E-3</c:v>
                </c:pt>
                <c:pt idx="5">
                  <c:v>5.7693051247716251E-3</c:v>
                </c:pt>
                <c:pt idx="6">
                  <c:v>2.8979991016709087E-3</c:v>
                </c:pt>
                <c:pt idx="7">
                  <c:v>6.704058442431768E-3</c:v>
                </c:pt>
                <c:pt idx="8">
                  <c:v>2.0856655822744283E-3</c:v>
                </c:pt>
                <c:pt idx="9">
                  <c:v>1.8707747056201961E-3</c:v>
                </c:pt>
                <c:pt idx="10">
                  <c:v>2.1420715222920265E-5</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2444849608584994E-2</c:v>
                </c:pt>
                <c:pt idx="1">
                  <c:v>2.0026610395616467E-2</c:v>
                </c:pt>
                <c:pt idx="2">
                  <c:v>1.9487850124213914E-2</c:v>
                </c:pt>
                <c:pt idx="3">
                  <c:v>2.888088145116852E-2</c:v>
                </c:pt>
                <c:pt idx="4">
                  <c:v>4.0649734575793114E-2</c:v>
                </c:pt>
                <c:pt idx="5">
                  <c:v>5.7075609665541885E-2</c:v>
                </c:pt>
                <c:pt idx="6">
                  <c:v>8.5246218043270275E-2</c:v>
                </c:pt>
                <c:pt idx="7">
                  <c:v>0.11979518822840668</c:v>
                </c:pt>
                <c:pt idx="8">
                  <c:v>0.11294166444654986</c:v>
                </c:pt>
                <c:pt idx="9">
                  <c:v>3.1515890457912775E-2</c:v>
                </c:pt>
                <c:pt idx="10">
                  <c:v>9.0396862542319028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4">
                  <c:v>1.1000000000000001E-3</c:v>
                </c:pt>
                <c:pt idx="5">
                  <c:v>0.114</c:v>
                </c:pt>
                <c:pt idx="6">
                  <c:v>0.109</c:v>
                </c:pt>
                <c:pt idx="7">
                  <c:v>0.1067</c:v>
                </c:pt>
                <c:pt idx="8">
                  <c:v>0.59550000000000003</c:v>
                </c:pt>
                <c:pt idx="9">
                  <c:v>6.8500000000000005E-2</c:v>
                </c:pt>
                <c:pt idx="10">
                  <c:v>5.0000000000000001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6527667394670337E-2</c:v>
                </c:pt>
                <c:pt idx="1">
                  <c:v>1.059839761131851E-2</c:v>
                </c:pt>
                <c:pt idx="2">
                  <c:v>1.7161497889988782E-2</c:v>
                </c:pt>
                <c:pt idx="3">
                  <c:v>6.6576011417078446E-2</c:v>
                </c:pt>
                <c:pt idx="4">
                  <c:v>4.9079788619134333E-2</c:v>
                </c:pt>
                <c:pt idx="5">
                  <c:v>0.11852206218782732</c:v>
                </c:pt>
                <c:pt idx="6">
                  <c:v>0.13215882489295883</c:v>
                </c:pt>
                <c:pt idx="7">
                  <c:v>0.17983556640418591</c:v>
                </c:pt>
                <c:pt idx="8">
                  <c:v>0.23095884548151405</c:v>
                </c:pt>
                <c:pt idx="9">
                  <c:v>0.10991926140650649</c:v>
                </c:pt>
                <c:pt idx="10">
                  <c:v>6.8662076694817026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9.9008457707577363E-5</c:v>
                </c:pt>
                <c:pt idx="1">
                  <c:v>2.2975844533108533E-3</c:v>
                </c:pt>
                <c:pt idx="2">
                  <c:v>4.0968862843632587E-3</c:v>
                </c:pt>
                <c:pt idx="4">
                  <c:v>2.5395658966136201E-5</c:v>
                </c:pt>
                <c:pt idx="5">
                  <c:v>4.9637303428646503E-3</c:v>
                </c:pt>
                <c:pt idx="6">
                  <c:v>3.812679622738398E-3</c:v>
                </c:pt>
                <c:pt idx="7">
                  <c:v>6.3940046027105525E-3</c:v>
                </c:pt>
                <c:pt idx="8">
                  <c:v>8.2263324437930243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4.4164548487646766E-5</c:v>
                </c:pt>
                <c:pt idx="1">
                  <c:v>2.133524078543317E-4</c:v>
                </c:pt>
                <c:pt idx="2">
                  <c:v>2.850554446928335E-3</c:v>
                </c:pt>
                <c:pt idx="3">
                  <c:v>1.995587437726043E-2</c:v>
                </c:pt>
                <c:pt idx="4">
                  <c:v>8.8442795641591482E-3</c:v>
                </c:pt>
                <c:pt idx="5">
                  <c:v>1.5405736195289997E-2</c:v>
                </c:pt>
                <c:pt idx="6">
                  <c:v>2.5099268441004883E-2</c:v>
                </c:pt>
                <c:pt idx="7">
                  <c:v>5.3913903873866971E-2</c:v>
                </c:pt>
                <c:pt idx="8">
                  <c:v>7.1244086962757996E-2</c:v>
                </c:pt>
                <c:pt idx="9">
                  <c:v>7.532943640677317E-2</c:v>
                </c:pt>
                <c:pt idx="10">
                  <c:v>5.7439654815510471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7.9312516187645419E-7</c:v>
                </c:pt>
                <c:pt idx="1">
                  <c:v>1.3625751136272241E-5</c:v>
                </c:pt>
                <c:pt idx="2">
                  <c:v>8.0648132003007108E-4</c:v>
                </c:pt>
                <c:pt idx="3">
                  <c:v>9.2630061668907775E-4</c:v>
                </c:pt>
                <c:pt idx="4">
                  <c:v>4.369225636822586E-3</c:v>
                </c:pt>
                <c:pt idx="5">
                  <c:v>2.6293648841027334E-2</c:v>
                </c:pt>
                <c:pt idx="6">
                  <c:v>1.0784220227369816E-2</c:v>
                </c:pt>
                <c:pt idx="7">
                  <c:v>7.273816953332451E-3</c:v>
                </c:pt>
                <c:pt idx="8">
                  <c:v>6.8436787405414543E-4</c:v>
                </c:pt>
                <c:pt idx="9">
                  <c:v>2.7968097813538123E-6</c:v>
                </c:pt>
                <c:pt idx="10">
                  <c:v>1.5827717046218714E-7</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oign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3">
                  <c:v>3.5997968284667565E-4</c:v>
                </c:pt>
                <c:pt idx="4">
                  <c:v>7.2661274657432936E-3</c:v>
                </c:pt>
                <c:pt idx="5">
                  <c:v>2.5105716061564259E-4</c:v>
                </c:pt>
                <c:pt idx="6">
                  <c:v>2.1370463543444487E-2</c:v>
                </c:pt>
                <c:pt idx="7">
                  <c:v>4.4692359368399019E-3</c:v>
                </c:pt>
                <c:pt idx="8">
                  <c:v>2.3884249393677989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1.6383701263313236E-2</c:v>
                </c:pt>
                <c:pt idx="1">
                  <c:v>8.0738349990170551E-3</c:v>
                </c:pt>
                <c:pt idx="2">
                  <c:v>9.4075758386671128E-3</c:v>
                </c:pt>
                <c:pt idx="3">
                  <c:v>4.5333856740282265E-2</c:v>
                </c:pt>
                <c:pt idx="4">
                  <c:v>2.857476029344316E-2</c:v>
                </c:pt>
                <c:pt idx="5">
                  <c:v>7.1607889648029679E-2</c:v>
                </c:pt>
                <c:pt idx="6">
                  <c:v>7.1092193058401268E-2</c:v>
                </c:pt>
                <c:pt idx="7">
                  <c:v>0.10778460503743602</c:v>
                </c:pt>
                <c:pt idx="8">
                  <c:v>0.12691980880723089</c:v>
                </c:pt>
                <c:pt idx="9">
                  <c:v>3.458702818995197E-2</c:v>
                </c:pt>
                <c:pt idx="10">
                  <c:v>1.1222263602136096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4">
                  <c:v>3.0763168285326412E-5</c:v>
                </c:pt>
                <c:pt idx="5">
                  <c:v>3.1341210426330847E-3</c:v>
                </c:pt>
                <c:pt idx="6">
                  <c:v>2.9971364998719755E-3</c:v>
                </c:pt>
                <c:pt idx="7">
                  <c:v>2.9318915194502439E-3</c:v>
                </c:pt>
                <c:pt idx="8">
                  <c:v>1.6367929204173116E-2</c:v>
                </c:pt>
                <c:pt idx="9">
                  <c:v>1.8839609848444547E-3</c:v>
                </c:pt>
                <c:pt idx="10">
                  <c:v>1.3849252415441374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4.4164548487646766E-5</c:v>
                </c:pt>
                <c:pt idx="1">
                  <c:v>2.133524078543317E-4</c:v>
                </c:pt>
                <c:pt idx="2">
                  <c:v>2.850554446928335E-3</c:v>
                </c:pt>
                <c:pt idx="3">
                  <c:v>1.995587437726043E-2</c:v>
                </c:pt>
                <c:pt idx="4">
                  <c:v>8.8442795641591482E-3</c:v>
                </c:pt>
                <c:pt idx="5">
                  <c:v>1.5405736195289997E-2</c:v>
                </c:pt>
                <c:pt idx="6">
                  <c:v>2.5099268441004883E-2</c:v>
                </c:pt>
                <c:pt idx="7">
                  <c:v>5.3913903873866971E-2</c:v>
                </c:pt>
                <c:pt idx="8">
                  <c:v>7.1244086962757996E-2</c:v>
                </c:pt>
                <c:pt idx="9">
                  <c:v>7.532943640677317E-2</c:v>
                </c:pt>
                <c:pt idx="10">
                  <c:v>5.7439654815510471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7.9312516187645419E-7</c:v>
                </c:pt>
                <c:pt idx="1">
                  <c:v>1.3625751136272241E-5</c:v>
                </c:pt>
                <c:pt idx="2">
                  <c:v>8.0648132003007108E-4</c:v>
                </c:pt>
                <c:pt idx="3">
                  <c:v>9.2630061668907775E-4</c:v>
                </c:pt>
                <c:pt idx="4">
                  <c:v>4.369225636822586E-3</c:v>
                </c:pt>
                <c:pt idx="5">
                  <c:v>2.6293648841027334E-2</c:v>
                </c:pt>
                <c:pt idx="6">
                  <c:v>1.0784220227369816E-2</c:v>
                </c:pt>
                <c:pt idx="7">
                  <c:v>7.273816953332451E-3</c:v>
                </c:pt>
                <c:pt idx="8">
                  <c:v>6.8436787405414543E-4</c:v>
                </c:pt>
                <c:pt idx="9">
                  <c:v>2.7968097813538123E-6</c:v>
                </c:pt>
                <c:pt idx="10">
                  <c:v>1.5827717046218714E-7</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oign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3">
                  <c:v>3.5997968284667565E-4</c:v>
                </c:pt>
                <c:pt idx="4">
                  <c:v>7.2661274657432936E-3</c:v>
                </c:pt>
                <c:pt idx="5">
                  <c:v>2.5105716061564259E-4</c:v>
                </c:pt>
                <c:pt idx="6">
                  <c:v>2.1370463543444487E-2</c:v>
                </c:pt>
                <c:pt idx="7">
                  <c:v>4.4692359368399019E-3</c:v>
                </c:pt>
                <c:pt idx="8">
                  <c:v>2.3884249393677989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1.6482709721020814E-2</c:v>
                </c:pt>
                <c:pt idx="1">
                  <c:v>1.0371419452327909E-2</c:v>
                </c:pt>
                <c:pt idx="2">
                  <c:v>1.3504462123030372E-2</c:v>
                </c:pt>
                <c:pt idx="3">
                  <c:v>4.5333856740282265E-2</c:v>
                </c:pt>
                <c:pt idx="4">
                  <c:v>2.856939278412397E-2</c:v>
                </c:pt>
                <c:pt idx="5">
                  <c:v>7.3437498948261251E-2</c:v>
                </c:pt>
                <c:pt idx="6">
                  <c:v>7.1907736181267681E-2</c:v>
                </c:pt>
                <c:pt idx="7">
                  <c:v>0.11124671812069634</c:v>
                </c:pt>
                <c:pt idx="8">
                  <c:v>0.11877821204685078</c:v>
                </c:pt>
                <c:pt idx="9">
                  <c:v>3.270306720510751E-2</c:v>
                </c:pt>
                <c:pt idx="10">
                  <c:v>1.1083771077981681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5">
                  <c:v>0.96799999999999997</c:v>
                </c:pt>
                <c:pt idx="6">
                  <c:v>3.2000000000000001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0195170591014295E-2</c:v>
                </c:pt>
                <c:pt idx="1">
                  <c:v>6.5559309181143974E-4</c:v>
                </c:pt>
                <c:pt idx="2">
                  <c:v>1.8509581616242188E-3</c:v>
                </c:pt>
                <c:pt idx="3">
                  <c:v>0.14860049297530936</c:v>
                </c:pt>
                <c:pt idx="4">
                  <c:v>0.35490978902863579</c:v>
                </c:pt>
                <c:pt idx="5">
                  <c:v>9.2347322437613608E-2</c:v>
                </c:pt>
                <c:pt idx="6">
                  <c:v>2.4790528801785793E-2</c:v>
                </c:pt>
                <c:pt idx="7">
                  <c:v>0.12812039009766801</c:v>
                </c:pt>
                <c:pt idx="8">
                  <c:v>0.22102038676692062</c:v>
                </c:pt>
                <c:pt idx="9">
                  <c:v>7.4387689291660385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5">
                  <c:v>8.4379100484128458E-2</c:v>
                </c:pt>
                <c:pt idx="6">
                  <c:v>2.7918017038439779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2">
                  <c:v>8.139294344834435E-6</c:v>
                </c:pt>
                <c:pt idx="3">
                  <c:v>0.14599777078309215</c:v>
                </c:pt>
                <c:pt idx="4">
                  <c:v>0.3510318236626534</c:v>
                </c:pt>
                <c:pt idx="5">
                  <c:v>3.7263721959881675E-3</c:v>
                </c:pt>
                <c:pt idx="6">
                  <c:v>1.0554014983310694E-3</c:v>
                </c:pt>
                <c:pt idx="7">
                  <c:v>2.148157798940302E-2</c:v>
                </c:pt>
                <c:pt idx="8">
                  <c:v>7.4162946944252003E-2</c:v>
                </c:pt>
                <c:pt idx="9">
                  <c:v>6.312739820105259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2">
                  <c:v>3.7673915802067669E-4</c:v>
                </c:pt>
                <c:pt idx="4">
                  <c:v>1.6905418825910495E-6</c:v>
                </c:pt>
                <c:pt idx="5">
                  <c:v>2.1511670584655771E-6</c:v>
                </c:pt>
                <c:pt idx="6">
                  <c:v>1.2273239093347952E-3</c:v>
                </c:pt>
                <c:pt idx="7">
                  <c:v>3.1593521019129306E-3</c:v>
                </c:pt>
                <c:pt idx="8">
                  <c:v>0.1403805132452864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t More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7">
                  <c:v>4.841081797505316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0195170591014295E-2</c:v>
                </c:pt>
                <c:pt idx="1">
                  <c:v>6.5559309181143974E-4</c:v>
                </c:pt>
                <c:pt idx="2">
                  <c:v>1.4660797092587077E-3</c:v>
                </c:pt>
                <c:pt idx="3">
                  <c:v>2.6027221922172144E-3</c:v>
                </c:pt>
                <c:pt idx="4">
                  <c:v>3.8762748240998295E-3</c:v>
                </c:pt>
                <c:pt idx="5">
                  <c:v>4.2396985904385245E-3</c:v>
                </c:pt>
                <c:pt idx="6">
                  <c:v>1.9716001690275955E-2</c:v>
                </c:pt>
                <c:pt idx="7">
                  <c:v>5.5068642031298902E-2</c:v>
                </c:pt>
                <c:pt idx="8">
                  <c:v>6.4769265773821855E-3</c:v>
                </c:pt>
                <c:pt idx="9">
                  <c:v>1.126029109060779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4">
                  <c:v>2.7799999999999998E-2</c:v>
                </c:pt>
                <c:pt idx="5">
                  <c:v>0.67110000000000003</c:v>
                </c:pt>
                <c:pt idx="6">
                  <c:v>0.30109999999999998</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5229844271682886E-2</c:v>
                </c:pt>
                <c:pt idx="1">
                  <c:v>1.2590592051960471E-3</c:v>
                </c:pt>
                <c:pt idx="2">
                  <c:v>3.2731555461713205E-2</c:v>
                </c:pt>
                <c:pt idx="3">
                  <c:v>0.14152197984434281</c:v>
                </c:pt>
                <c:pt idx="4">
                  <c:v>0.32430501393489058</c:v>
                </c:pt>
                <c:pt idx="5">
                  <c:v>7.999615168178828E-2</c:v>
                </c:pt>
                <c:pt idx="6">
                  <c:v>9.6445642492324651E-2</c:v>
                </c:pt>
                <c:pt idx="7">
                  <c:v>0.11128880451125545</c:v>
                </c:pt>
                <c:pt idx="8">
                  <c:v>0.17753774739433337</c:v>
                </c:pt>
                <c:pt idx="9">
                  <c:v>9.2913757652238228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4">
                  <c:v>2.6462490913729043E-3</c:v>
                </c:pt>
                <c:pt idx="5">
                  <c:v>6.3878383003740671E-2</c:v>
                </c:pt>
                <c:pt idx="6">
                  <c:v>2.8663580958399385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7.6306696888571608E-4</c:v>
                </c:pt>
                <c:pt idx="1">
                  <c:v>1.1067148522188636E-3</c:v>
                </c:pt>
                <c:pt idx="2">
                  <c:v>3.1917241394296705E-2</c:v>
                </c:pt>
                <c:pt idx="3">
                  <c:v>0.13974770750722393</c:v>
                </c:pt>
                <c:pt idx="4">
                  <c:v>0.31695016280460753</c:v>
                </c:pt>
                <c:pt idx="5">
                  <c:v>1.0432005279822222E-2</c:v>
                </c:pt>
                <c:pt idx="6">
                  <c:v>4.9663120821023532E-3</c:v>
                </c:pt>
                <c:pt idx="7">
                  <c:v>3.5720986788880867E-2</c:v>
                </c:pt>
                <c:pt idx="8">
                  <c:v>6.5527654846109049E-2</c:v>
                </c:pt>
                <c:pt idx="9">
                  <c:v>4.3644367694232649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5">
                  <c:v>8.0194853834143125E-7</c:v>
                </c:pt>
                <c:pt idx="6">
                  <c:v>2.8578858975719765E-3</c:v>
                </c:pt>
                <c:pt idx="7">
                  <c:v>3.9156353241981738E-2</c:v>
                </c:pt>
                <c:pt idx="8">
                  <c:v>0.1058370807396873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6">
                  <c:v>5.486789618139786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4466777302797171E-2</c:v>
                </c:pt>
                <c:pt idx="1">
                  <c:v>1.5234435297718351E-4</c:v>
                </c:pt>
                <c:pt idx="2">
                  <c:v>8.143140674165023E-4</c:v>
                </c:pt>
                <c:pt idx="3">
                  <c:v>1.7742723371188839E-3</c:v>
                </c:pt>
                <c:pt idx="4">
                  <c:v>4.7086020389101807E-3</c:v>
                </c:pt>
                <c:pt idx="5">
                  <c:v>5.6849614496870295E-3</c:v>
                </c:pt>
                <c:pt idx="6">
                  <c:v>5.0899673728530643E-3</c:v>
                </c:pt>
                <c:pt idx="7">
                  <c:v>3.6411464480392841E-2</c:v>
                </c:pt>
                <c:pt idx="8">
                  <c:v>6.1730118085370107E-3</c:v>
                </c:pt>
                <c:pt idx="9">
                  <c:v>4.926938995800558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5">
                  <c:v>0.8659</c:v>
                </c:pt>
                <c:pt idx="6">
                  <c:v>0.134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3.0096130298614627E-3</c:v>
                </c:pt>
                <c:pt idx="3">
                  <c:v>0.26864620226306141</c:v>
                </c:pt>
                <c:pt idx="4">
                  <c:v>0.24445258049451576</c:v>
                </c:pt>
                <c:pt idx="5">
                  <c:v>9.7099623144768832E-2</c:v>
                </c:pt>
                <c:pt idx="6">
                  <c:v>2.9819821017562358E-2</c:v>
                </c:pt>
                <c:pt idx="7">
                  <c:v>0.16448722706132768</c:v>
                </c:pt>
                <c:pt idx="8">
                  <c:v>0.19228241457022868</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5">
                  <c:v>9.709188742891893E-2</c:v>
                </c:pt>
                <c:pt idx="6">
                  <c:v>1.5033118172919368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2">
                  <c:v>3.0064925207559088E-3</c:v>
                </c:pt>
                <c:pt idx="3">
                  <c:v>0.26852109344841774</c:v>
                </c:pt>
                <c:pt idx="4">
                  <c:v>0.24392545046056749</c:v>
                </c:pt>
                <c:pt idx="5">
                  <c:v>2.5698310281031214E-6</c:v>
                </c:pt>
                <c:pt idx="6">
                  <c:v>6.3813100070295365E-4</c:v>
                </c:pt>
                <c:pt idx="7">
                  <c:v>2.9943015570317748E-2</c:v>
                </c:pt>
                <c:pt idx="8">
                  <c:v>6.4196109784545111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4">
                  <c:v>2.5776978577809882E-5</c:v>
                </c:pt>
                <c:pt idx="6">
                  <c:v>8.9463160462635669E-3</c:v>
                </c:pt>
                <c:pt idx="7">
                  <c:v>6.4434317387190906E-3</c:v>
                </c:pt>
                <c:pt idx="8">
                  <c:v>0.10863323458102039</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t More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6">
                  <c:v>4.0914332243960983E-3</c:v>
                </c:pt>
                <c:pt idx="7">
                  <c:v>6.588488211149275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2">
                  <c:v>3.1205091055537905E-6</c:v>
                </c:pt>
                <c:pt idx="3">
                  <c:v>1.251088146436734E-4</c:v>
                </c:pt>
                <c:pt idx="4">
                  <c:v>5.0135305537044462E-4</c:v>
                </c:pt>
                <c:pt idx="5">
                  <c:v>5.1658848217991322E-6</c:v>
                </c:pt>
                <c:pt idx="6">
                  <c:v>1.1108225732803707E-3</c:v>
                </c:pt>
                <c:pt idx="7">
                  <c:v>6.2215897640798087E-2</c:v>
                </c:pt>
                <c:pt idx="8">
                  <c:v>1.9453070204663178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8452095700271858E-2</c:v>
                </c:pt>
                <c:pt idx="1">
                  <c:v>6.9038415366902443E-3</c:v>
                </c:pt>
                <c:pt idx="2">
                  <c:v>3.8993138108884502E-2</c:v>
                </c:pt>
                <c:pt idx="3">
                  <c:v>9.2885754275378318E-2</c:v>
                </c:pt>
                <c:pt idx="4">
                  <c:v>0.12661389106941554</c:v>
                </c:pt>
                <c:pt idx="5">
                  <c:v>0.14139828617238459</c:v>
                </c:pt>
                <c:pt idx="6">
                  <c:v>8.327672553420401E-2</c:v>
                </c:pt>
                <c:pt idx="7">
                  <c:v>0.25943750265456544</c:v>
                </c:pt>
                <c:pt idx="8">
                  <c:v>0.16769832304927204</c:v>
                </c:pt>
                <c:pt idx="9">
                  <c:v>5.0813195599909045E-2</c:v>
                </c:pt>
                <c:pt idx="10">
                  <c:v>3.5272462990244605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Mini Baby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2.8448348675945187E-2</c:v>
                </c:pt>
                <c:pt idx="1">
                  <c:v>6.9038415366902443E-3</c:v>
                </c:pt>
                <c:pt idx="2">
                  <c:v>1.7361982186284391E-3</c:v>
                </c:pt>
                <c:pt idx="3">
                  <c:v>1.8755435712991535E-3</c:v>
                </c:pt>
                <c:pt idx="4">
                  <c:v>0.10477416679766324</c:v>
                </c:pt>
                <c:pt idx="5">
                  <c:v>5.0671865007636957E-3</c:v>
                </c:pt>
                <c:pt idx="6">
                  <c:v>2.6783593228682716E-2</c:v>
                </c:pt>
                <c:pt idx="7">
                  <c:v>6.6655607066131453E-2</c:v>
                </c:pt>
                <c:pt idx="8">
                  <c:v>4.4421204234486155E-3</c:v>
                </c:pt>
                <c:pt idx="10">
                  <c:v>2.5859269363756062E-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La Vache Qui Ri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2">
                  <c:v>7.4054053967207621E-7</c:v>
                </c:pt>
                <c:pt idx="3">
                  <c:v>8.2060798596221757E-2</c:v>
                </c:pt>
                <c:pt idx="4">
                  <c:v>1.3735802625934962E-2</c:v>
                </c:pt>
                <c:pt idx="5">
                  <c:v>6.1588706809217263E-2</c:v>
                </c:pt>
                <c:pt idx="6">
                  <c:v>2.3195070431785789E-2</c:v>
                </c:pt>
                <c:pt idx="7">
                  <c:v>5.9000565638160689E-2</c:v>
                </c:pt>
                <c:pt idx="8">
                  <c:v>2.4630784631086092E-2</c:v>
                </c:pt>
                <c:pt idx="9">
                  <c:v>3.3171045320672899E-5</c:v>
                </c:pt>
                <c:pt idx="10">
                  <c:v>5.6986533599004805E-5</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4">
                  <c:v>1.9236787063778384E-3</c:v>
                </c:pt>
                <c:pt idx="5">
                  <c:v>9.3823032982912943E-3</c:v>
                </c:pt>
                <c:pt idx="6">
                  <c:v>5.4704191349204496E-3</c:v>
                </c:pt>
                <c:pt idx="7">
                  <c:v>6.9353981666997425E-2</c:v>
                </c:pt>
                <c:pt idx="8">
                  <c:v>4.7075678262511508E-2</c:v>
                </c:pt>
                <c:pt idx="9">
                  <c:v>4.8835529456781143E-2</c:v>
                </c:pt>
                <c:pt idx="10">
                  <c:v>3.2116670717878947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3.7470243266699317E-6</c:v>
                </c:pt>
                <c:pt idx="2">
                  <c:v>3.7256199349716392E-2</c:v>
                </c:pt>
                <c:pt idx="3">
                  <c:v>8.9494121078573987E-3</c:v>
                </c:pt>
                <c:pt idx="4">
                  <c:v>6.1802429394394939E-3</c:v>
                </c:pt>
                <c:pt idx="5">
                  <c:v>6.5360089564112323E-2</c:v>
                </c:pt>
                <c:pt idx="6">
                  <c:v>2.7827642738815061E-2</c:v>
                </c:pt>
                <c:pt idx="7">
                  <c:v>6.442734828327587E-2</c:v>
                </c:pt>
                <c:pt idx="8">
                  <c:v>9.1549739732225813E-2</c:v>
                </c:pt>
                <c:pt idx="9">
                  <c:v>1.944495097807224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8613377585847987E-2</c:v>
                </c:pt>
                <c:pt idx="1">
                  <c:v>1.56302030123537E-2</c:v>
                </c:pt>
                <c:pt idx="2">
                  <c:v>3.5294981321742719E-2</c:v>
                </c:pt>
                <c:pt idx="3">
                  <c:v>0.17153808610810198</c:v>
                </c:pt>
                <c:pt idx="4">
                  <c:v>0.13353047605469773</c:v>
                </c:pt>
                <c:pt idx="5">
                  <c:v>0.12917153792881839</c:v>
                </c:pt>
                <c:pt idx="6">
                  <c:v>7.2507313656684891E-2</c:v>
                </c:pt>
                <c:pt idx="7">
                  <c:v>0.21110141717184974</c:v>
                </c:pt>
                <c:pt idx="8">
                  <c:v>0.1733531988133058</c:v>
                </c:pt>
                <c:pt idx="9">
                  <c:v>1.9940538619508948E-2</c:v>
                </c:pt>
                <c:pt idx="10">
                  <c:v>9.3188697270881003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La Vache Qui Ri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2.0856614831110494E-5</c:v>
                </c:pt>
                <c:pt idx="1">
                  <c:v>5.0857004490138715E-6</c:v>
                </c:pt>
                <c:pt idx="2">
                  <c:v>3.5264351773265254E-5</c:v>
                </c:pt>
                <c:pt idx="3">
                  <c:v>0.13356059179014013</c:v>
                </c:pt>
                <c:pt idx="4">
                  <c:v>3.2745011116607166E-2</c:v>
                </c:pt>
                <c:pt idx="5">
                  <c:v>4.5656346239016515E-2</c:v>
                </c:pt>
                <c:pt idx="6">
                  <c:v>2.2933793156152984E-2</c:v>
                </c:pt>
                <c:pt idx="7">
                  <c:v>5.3053670560782258E-2</c:v>
                </c:pt>
                <c:pt idx="8">
                  <c:v>1.6505258068993306E-2</c:v>
                </c:pt>
                <c:pt idx="9">
                  <c:v>1.4804683726685523E-2</c:v>
                </c:pt>
                <c:pt idx="10">
                  <c:v>1.6951635764692421E-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Mini Baby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2.8591776466415062E-2</c:v>
                </c:pt>
                <c:pt idx="1">
                  <c:v>1.5611160472115745E-2</c:v>
                </c:pt>
                <c:pt idx="2">
                  <c:v>4.5091497937806138E-3</c:v>
                </c:pt>
                <c:pt idx="3">
                  <c:v>2.2503123458954121E-3</c:v>
                </c:pt>
                <c:pt idx="4">
                  <c:v>9.2942297705621374E-2</c:v>
                </c:pt>
                <c:pt idx="5">
                  <c:v>5.9604618982048718E-3</c:v>
                </c:pt>
                <c:pt idx="6">
                  <c:v>3.4556862681935428E-3</c:v>
                </c:pt>
                <c:pt idx="7">
                  <c:v>3.8628411545534092E-2</c:v>
                </c:pt>
                <c:pt idx="8">
                  <c:v>4.4743153671999457E-2</c:v>
                </c:pt>
                <c:pt idx="10">
                  <c:v>4.3540936029773809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Kiri</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4.9284107444051948E-7</c:v>
                </c:pt>
                <c:pt idx="1">
                  <c:v>1.3956839788943221E-5</c:v>
                </c:pt>
                <c:pt idx="2">
                  <c:v>3.0743646429186058E-2</c:v>
                </c:pt>
                <c:pt idx="3">
                  <c:v>3.564450001734381E-2</c:v>
                </c:pt>
                <c:pt idx="4">
                  <c:v>6.3327037131317649E-3</c:v>
                </c:pt>
                <c:pt idx="5">
                  <c:v>2.5358413952695731E-2</c:v>
                </c:pt>
                <c:pt idx="6">
                  <c:v>1.714739853104838E-2</c:v>
                </c:pt>
                <c:pt idx="7">
                  <c:v>5.4161420006419936E-2</c:v>
                </c:pt>
                <c:pt idx="8">
                  <c:v>5.3248888056162243E-2</c:v>
                </c:pt>
                <c:pt idx="9">
                  <c:v>3.4603735013908812E-7</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516635273738823E-7</c:v>
                </c:pt>
                <c:pt idx="2">
                  <c:v>6.9207470027817628E-6</c:v>
                </c:pt>
                <c:pt idx="3">
                  <c:v>8.2681954722627565E-5</c:v>
                </c:pt>
                <c:pt idx="4">
                  <c:v>1.5104635193374269E-3</c:v>
                </c:pt>
                <c:pt idx="5">
                  <c:v>5.2196315838901282E-2</c:v>
                </c:pt>
                <c:pt idx="6">
                  <c:v>2.8970435701289987E-2</c:v>
                </c:pt>
                <c:pt idx="7">
                  <c:v>6.525791505911345E-2</c:v>
                </c:pt>
                <c:pt idx="8">
                  <c:v>5.8855899016150806E-2</c:v>
                </c:pt>
                <c:pt idx="9">
                  <c:v>5.1355088554732855E-3</c:v>
                </c:pt>
                <c:pt idx="10">
                  <c:v>8.713944009143439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9437627523840919E-2</c:v>
                </c:pt>
                <c:pt idx="1">
                  <c:v>1.7339094554510329E-2</c:v>
                </c:pt>
                <c:pt idx="2">
                  <c:v>4.8088716519655232E-2</c:v>
                </c:pt>
                <c:pt idx="3">
                  <c:v>0.20562364600569663</c:v>
                </c:pt>
                <c:pt idx="4">
                  <c:v>6.6748547419724566E-2</c:v>
                </c:pt>
                <c:pt idx="5">
                  <c:v>0.12200576981432011</c:v>
                </c:pt>
                <c:pt idx="6">
                  <c:v>4.6184937163428488E-2</c:v>
                </c:pt>
                <c:pt idx="7">
                  <c:v>0.2232454479683828</c:v>
                </c:pt>
                <c:pt idx="8">
                  <c:v>0.15135974545254935</c:v>
                </c:pt>
                <c:pt idx="9">
                  <c:v>8.9599780134545004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Mini Baby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2.4747136481628206E-2</c:v>
                </c:pt>
                <c:pt idx="2">
                  <c:v>1.3625819773384115E-3</c:v>
                </c:pt>
                <c:pt idx="3">
                  <c:v>0.12608331685803781</c:v>
                </c:pt>
                <c:pt idx="4">
                  <c:v>1.1732619958943502E-2</c:v>
                </c:pt>
                <c:pt idx="5">
                  <c:v>6.2114905007134369E-3</c:v>
                </c:pt>
                <c:pt idx="6">
                  <c:v>2.029408133441467E-3</c:v>
                </c:pt>
                <c:pt idx="7">
                  <c:v>3.6855776457379794E-2</c:v>
                </c:pt>
                <c:pt idx="8">
                  <c:v>4.4124971743041461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La Vache Qui Ri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3.9433076220715705E-3</c:v>
                </c:pt>
                <c:pt idx="2">
                  <c:v>1.5808316239147732E-2</c:v>
                </c:pt>
                <c:pt idx="3">
                  <c:v>7.9539672848540577E-2</c:v>
                </c:pt>
                <c:pt idx="4">
                  <c:v>4.6158947718345923E-2</c:v>
                </c:pt>
                <c:pt idx="5">
                  <c:v>3.5006207408320195E-2</c:v>
                </c:pt>
                <c:pt idx="6">
                  <c:v>1.0506928851688921E-2</c:v>
                </c:pt>
                <c:pt idx="7">
                  <c:v>9.1024631772222628E-2</c:v>
                </c:pt>
                <c:pt idx="8">
                  <c:v>1.4093734792729056E-2</c:v>
                </c:pt>
                <c:pt idx="9">
                  <c:v>1.3257242188576946E-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5">
                  <c:v>1.4569840425069714E-6</c:v>
                </c:pt>
                <c:pt idx="6">
                  <c:v>5.9329440289473069E-6</c:v>
                </c:pt>
                <c:pt idx="7">
                  <c:v>4.9444538616075701E-2</c:v>
                </c:pt>
                <c:pt idx="8">
                  <c:v>8.8206601492313936E-6</c:v>
                </c:pt>
                <c:pt idx="9">
                  <c:v>8.9598454410326142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7.4718342014114258E-4</c:v>
                </c:pt>
                <c:pt idx="1">
                  <c:v>1.7339094554510329E-2</c:v>
                </c:pt>
                <c:pt idx="2">
                  <c:v>3.0917818303169083E-2</c:v>
                </c:pt>
                <c:pt idx="3">
                  <c:v>6.5629911824638341E-7</c:v>
                </c:pt>
                <c:pt idx="4">
                  <c:v>8.856979742435149E-3</c:v>
                </c:pt>
                <c:pt idx="5">
                  <c:v>8.0786614921243977E-2</c:v>
                </c:pt>
                <c:pt idx="6">
                  <c:v>3.3642667234269147E-2</c:v>
                </c:pt>
                <c:pt idx="7">
                  <c:v>4.5920501122704654E-2</c:v>
                </c:pt>
                <c:pt idx="8">
                  <c:v>9.3132218256629595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4">
                  <c:v>2.5000000000000001E-3</c:v>
                </c:pt>
                <c:pt idx="5">
                  <c:v>8.2500000000000004E-2</c:v>
                </c:pt>
                <c:pt idx="6">
                  <c:v>0.1095</c:v>
                </c:pt>
                <c:pt idx="7">
                  <c:v>0.21879999999999999</c:v>
                </c:pt>
                <c:pt idx="8">
                  <c:v>0.50970000000000004</c:v>
                </c:pt>
                <c:pt idx="9">
                  <c:v>6.9400000000000003E-2</c:v>
                </c:pt>
                <c:pt idx="10">
                  <c:v>7.7000000000000002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8797801642155176E-2</c:v>
                </c:pt>
                <c:pt idx="1">
                  <c:v>1.5499323616429531E-2</c:v>
                </c:pt>
                <c:pt idx="2">
                  <c:v>2.0328229017232035E-2</c:v>
                </c:pt>
                <c:pt idx="3">
                  <c:v>4.4263789690257418E-2</c:v>
                </c:pt>
                <c:pt idx="4">
                  <c:v>6.5094507892549974E-2</c:v>
                </c:pt>
                <c:pt idx="5">
                  <c:v>0.10204826864942469</c:v>
                </c:pt>
                <c:pt idx="6">
                  <c:v>0.12638325694294628</c:v>
                </c:pt>
                <c:pt idx="7">
                  <c:v>0.17605578638733341</c:v>
                </c:pt>
                <c:pt idx="8">
                  <c:v>0.25472703021903487</c:v>
                </c:pt>
                <c:pt idx="9">
                  <c:v>9.8964213929595687E-2</c:v>
                </c:pt>
                <c:pt idx="10">
                  <c:v>7.7837792013041002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0195170591014295E-2</c:v>
                </c:pt>
                <c:pt idx="1">
                  <c:v>6.5559309181143974E-4</c:v>
                </c:pt>
                <c:pt idx="2">
                  <c:v>1.8509581616242188E-3</c:v>
                </c:pt>
                <c:pt idx="3">
                  <c:v>0.14860049297530936</c:v>
                </c:pt>
                <c:pt idx="4">
                  <c:v>0.35490978902863579</c:v>
                </c:pt>
                <c:pt idx="5">
                  <c:v>9.2347322437613608E-2</c:v>
                </c:pt>
                <c:pt idx="6">
                  <c:v>2.4790528801785793E-2</c:v>
                </c:pt>
                <c:pt idx="7">
                  <c:v>0.12812039009766801</c:v>
                </c:pt>
                <c:pt idx="8">
                  <c:v>0.22102038676692062</c:v>
                </c:pt>
                <c:pt idx="9">
                  <c:v>7.4387689291660385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1.4769469987927959E-2</c:v>
                </c:pt>
                <c:pt idx="2">
                  <c:v>2.3174585769354574E-3</c:v>
                </c:pt>
                <c:pt idx="3">
                  <c:v>5.4889164840494477E-2</c:v>
                </c:pt>
                <c:pt idx="4">
                  <c:v>2.1417116059667604E-2</c:v>
                </c:pt>
                <c:pt idx="5">
                  <c:v>5.4954785824171536E-2</c:v>
                </c:pt>
                <c:pt idx="6">
                  <c:v>0.14927955263464021</c:v>
                </c:pt>
                <c:pt idx="7">
                  <c:v>0.13229106377391031</c:v>
                </c:pt>
                <c:pt idx="8">
                  <c:v>0.31299472077907142</c:v>
                </c:pt>
                <c:pt idx="9">
                  <c:v>0.14351243301228028</c:v>
                </c:pt>
                <c:pt idx="10">
                  <c:v>0.1132490185854586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4">
                  <c:v>2.5624963455585768E-4</c:v>
                </c:pt>
                <c:pt idx="5">
                  <c:v>8.625546990269144E-3</c:v>
                </c:pt>
                <c:pt idx="6">
                  <c:v>1.1454780717940091E-2</c:v>
                </c:pt>
                <c:pt idx="7">
                  <c:v>2.2883222378001097E-2</c:v>
                </c:pt>
                <c:pt idx="8">
                  <c:v>5.329542368167689E-2</c:v>
                </c:pt>
                <c:pt idx="9">
                  <c:v>7.2519363217122216E-3</c:v>
                </c:pt>
                <c:pt idx="10">
                  <c:v>8.0130730057553258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6">
                  <c:v>6.7580397135302726E-3</c:v>
                </c:pt>
                <c:pt idx="7">
                  <c:v>7.6792604187640604E-4</c:v>
                </c:pt>
                <c:pt idx="8">
                  <c:v>2.2935276614910325E-2</c:v>
                </c:pt>
                <c:pt idx="9">
                  <c:v>7.3021828060718733E-2</c:v>
                </c:pt>
                <c:pt idx="10">
                  <c:v>0.10546364191010567</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t More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1">
                  <c:v>1.1985028367831106E-2</c:v>
                </c:pt>
                <c:pt idx="2">
                  <c:v>1.2722744909185247E-3</c:v>
                </c:pt>
                <c:pt idx="3">
                  <c:v>4.1117522494445613E-2</c:v>
                </c:pt>
                <c:pt idx="4">
                  <c:v>1.9643777086309891E-2</c:v>
                </c:pt>
                <c:pt idx="5">
                  <c:v>3.684323873362097E-2</c:v>
                </c:pt>
                <c:pt idx="6">
                  <c:v>5.2782584795062273E-2</c:v>
                </c:pt>
                <c:pt idx="7">
                  <c:v>1.9658859394885812E-2</c:v>
                </c:pt>
                <c:pt idx="8">
                  <c:v>9.8894938206385896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Tartar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4">
                  <c:v>7.3020605736930772E-4</c:v>
                </c:pt>
                <c:pt idx="5">
                  <c:v>2.4820129818206998E-3</c:v>
                </c:pt>
                <c:pt idx="6">
                  <c:v>7.9532584340992179E-3</c:v>
                </c:pt>
                <c:pt idx="7">
                  <c:v>4.5076632235905106E-2</c:v>
                </c:pt>
                <c:pt idx="8">
                  <c:v>4.071376216686811E-2</c:v>
                </c:pt>
                <c:pt idx="9">
                  <c:v>1.2633480862079443E-2</c:v>
                </c:pt>
                <c:pt idx="10">
                  <c:v>2.0386041809200665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1">
                  <c:v>2.7844416200968536E-3</c:v>
                </c:pt>
                <c:pt idx="2">
                  <c:v>1.0451840860169327E-3</c:v>
                </c:pt>
                <c:pt idx="3">
                  <c:v>1.3771642346048864E-2</c:v>
                </c:pt>
                <c:pt idx="4">
                  <c:v>7.8688328143254767E-4</c:v>
                </c:pt>
                <c:pt idx="5">
                  <c:v>7.0039871184607184E-3</c:v>
                </c:pt>
                <c:pt idx="6">
                  <c:v>7.0330888974008368E-2</c:v>
                </c:pt>
                <c:pt idx="7">
                  <c:v>4.3904423723241881E-2</c:v>
                </c:pt>
                <c:pt idx="8">
                  <c:v>9.7155320109230198E-2</c:v>
                </c:pt>
                <c:pt idx="9">
                  <c:v>5.0605187767769885E-2</c:v>
                </c:pt>
                <c:pt idx="10">
                  <c:v>4.9454651938573664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4">
                  <c:v>2.5999999999999999E-3</c:v>
                </c:pt>
                <c:pt idx="5">
                  <c:v>4.02E-2</c:v>
                </c:pt>
                <c:pt idx="6">
                  <c:v>0.1522</c:v>
                </c:pt>
                <c:pt idx="7">
                  <c:v>0.38500000000000001</c:v>
                </c:pt>
                <c:pt idx="8">
                  <c:v>0.32769999999999999</c:v>
                </c:pt>
                <c:pt idx="9">
                  <c:v>8.2400000000000001E-2</c:v>
                </c:pt>
                <c:pt idx="10">
                  <c:v>9.9000000000000008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0921024996954196E-3</c:v>
                </c:pt>
                <c:pt idx="1">
                  <c:v>2.2013794513369753E-2</c:v>
                </c:pt>
                <c:pt idx="2">
                  <c:v>6.0164729451450899E-3</c:v>
                </c:pt>
                <c:pt idx="3">
                  <c:v>5.9948371208162959E-2</c:v>
                </c:pt>
                <c:pt idx="4">
                  <c:v>2.3502461461467141E-2</c:v>
                </c:pt>
                <c:pt idx="5">
                  <c:v>7.9254515665220515E-2</c:v>
                </c:pt>
                <c:pt idx="6">
                  <c:v>0.10057809753875298</c:v>
                </c:pt>
                <c:pt idx="7">
                  <c:v>0.25267661121730906</c:v>
                </c:pt>
                <c:pt idx="8">
                  <c:v>0.2504997063205352</c:v>
                </c:pt>
                <c:pt idx="9">
                  <c:v>0.15719468225499186</c:v>
                </c:pt>
                <c:pt idx="10">
                  <c:v>4.7223184375350009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4">
                  <c:v>2.8096906583749892E-4</c:v>
                </c:pt>
                <c:pt idx="5">
                  <c:v>4.3846185497573254E-3</c:v>
                </c:pt>
                <c:pt idx="6">
                  <c:v>1.6601237523760515E-2</c:v>
                </c:pt>
                <c:pt idx="7">
                  <c:v>4.2002967665951234E-2</c:v>
                </c:pt>
                <c:pt idx="8">
                  <c:v>3.5748879507964147E-2</c:v>
                </c:pt>
                <c:pt idx="9">
                  <c:v>8.9923057186475225E-3</c:v>
                </c:pt>
                <c:pt idx="10">
                  <c:v>1.0766087690494593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6">
                  <c:v>8.0028603535492416E-4</c:v>
                </c:pt>
                <c:pt idx="7">
                  <c:v>1.0742766677238561E-2</c:v>
                </c:pt>
                <c:pt idx="8">
                  <c:v>2.1433128089056962E-2</c:v>
                </c:pt>
                <c:pt idx="9">
                  <c:v>7.791538913009359E-2</c:v>
                </c:pt>
                <c:pt idx="10">
                  <c:v>3.9670115779002035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t More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2.4725635203864748E-4</c:v>
                </c:pt>
                <c:pt idx="1">
                  <c:v>1.4215372774110923E-2</c:v>
                </c:pt>
                <c:pt idx="2">
                  <c:v>4.8549256504206023E-3</c:v>
                </c:pt>
                <c:pt idx="3">
                  <c:v>4.262140340943385E-2</c:v>
                </c:pt>
                <c:pt idx="4">
                  <c:v>1.8334792981554462E-2</c:v>
                </c:pt>
                <c:pt idx="5">
                  <c:v>2.6101512439191687E-2</c:v>
                </c:pt>
                <c:pt idx="6">
                  <c:v>4.2468163801257251E-2</c:v>
                </c:pt>
                <c:pt idx="7">
                  <c:v>6.5960171015402719E-2</c:v>
                </c:pt>
                <c:pt idx="8">
                  <c:v>6.1802552596591551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Tartar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2">
                  <c:v>3.8421592720662911E-7</c:v>
                </c:pt>
                <c:pt idx="3">
                  <c:v>3.9207895083318342E-5</c:v>
                </c:pt>
                <c:pt idx="4">
                  <c:v>3.5994509643752759E-3</c:v>
                </c:pt>
                <c:pt idx="5">
                  <c:v>6.7906948442288109E-3</c:v>
                </c:pt>
                <c:pt idx="6">
                  <c:v>6.4855648512478995E-4</c:v>
                </c:pt>
                <c:pt idx="7">
                  <c:v>4.5601069406954228E-2</c:v>
                </c:pt>
                <c:pt idx="8">
                  <c:v>3.610527105383772E-2</c:v>
                </c:pt>
                <c:pt idx="9">
                  <c:v>1.5523163373035199E-2</c:v>
                </c:pt>
                <c:pt idx="10">
                  <c:v>3.7888426107257809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8.4484614765677202E-4</c:v>
                </c:pt>
                <c:pt idx="1">
                  <c:v>7.7984217392588302E-3</c:v>
                </c:pt>
                <c:pt idx="2">
                  <c:v>1.1611630787972808E-3</c:v>
                </c:pt>
                <c:pt idx="3">
                  <c:v>1.7287759903645793E-2</c:v>
                </c:pt>
                <c:pt idx="4">
                  <c:v>1.2872484496999027E-3</c:v>
                </c:pt>
                <c:pt idx="5">
                  <c:v>4.197768983204269E-2</c:v>
                </c:pt>
                <c:pt idx="6">
                  <c:v>4.0059853693255494E-2</c:v>
                </c:pt>
                <c:pt idx="7">
                  <c:v>8.8369636451762337E-2</c:v>
                </c:pt>
                <c:pt idx="8">
                  <c:v>9.5409875073084793E-2</c:v>
                </c:pt>
                <c:pt idx="9">
                  <c:v>5.4763824033215558E-2</c:v>
                </c:pt>
                <c:pt idx="10">
                  <c:v>2.6876172165727344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4">
                  <c:v>1.2999999999999999E-3</c:v>
                </c:pt>
                <c:pt idx="5">
                  <c:v>0.12859999999999999</c:v>
                </c:pt>
                <c:pt idx="6">
                  <c:v>0.1171</c:v>
                </c:pt>
                <c:pt idx="7">
                  <c:v>0.1106</c:v>
                </c:pt>
                <c:pt idx="8">
                  <c:v>0.55940000000000001</c:v>
                </c:pt>
                <c:pt idx="9">
                  <c:v>7.7299999999999994E-2</c:v>
                </c:pt>
                <c:pt idx="10">
                  <c:v>5.7000000000000002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4.4185496993801796E-3</c:v>
                </c:pt>
                <c:pt idx="2">
                  <c:v>5.8867511383563064E-3</c:v>
                </c:pt>
                <c:pt idx="3">
                  <c:v>7.5681685289260239E-2</c:v>
                </c:pt>
                <c:pt idx="4">
                  <c:v>2.5426936831280101E-2</c:v>
                </c:pt>
                <c:pt idx="5">
                  <c:v>9.4771840334443316E-2</c:v>
                </c:pt>
                <c:pt idx="6">
                  <c:v>0.12889598069765412</c:v>
                </c:pt>
                <c:pt idx="7">
                  <c:v>0.13425471229470909</c:v>
                </c:pt>
                <c:pt idx="8">
                  <c:v>0.32909591222530005</c:v>
                </c:pt>
                <c:pt idx="9">
                  <c:v>0.10836522028352405</c:v>
                </c:pt>
                <c:pt idx="10">
                  <c:v>9.2817697572310995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4">
                  <c:v>1.8615243730184993E-4</c:v>
                </c:pt>
                <c:pt idx="5">
                  <c:v>1.896502549652692E-2</c:v>
                </c:pt>
                <c:pt idx="6">
                  <c:v>1.726077346311387E-2</c:v>
                </c:pt>
                <c:pt idx="7">
                  <c:v>1.6311361300978516E-2</c:v>
                </c:pt>
                <c:pt idx="8">
                  <c:v>8.2465150831309508E-2</c:v>
                </c:pt>
                <c:pt idx="9">
                  <c:v>1.140012387078055E-2</c:v>
                </c:pt>
                <c:pt idx="10">
                  <c:v>8.3803854922597388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1">
                  <c:v>4.4173814446993118E-3</c:v>
                </c:pt>
                <c:pt idx="2">
                  <c:v>5.2218879271393025E-3</c:v>
                </c:pt>
                <c:pt idx="3">
                  <c:v>6.777826345130282E-2</c:v>
                </c:pt>
                <c:pt idx="4">
                  <c:v>2.2669203245781977E-2</c:v>
                </c:pt>
                <c:pt idx="5">
                  <c:v>6.7392423662108167E-2</c:v>
                </c:pt>
                <c:pt idx="6">
                  <c:v>1.8633009621187736E-2</c:v>
                </c:pt>
                <c:pt idx="7">
                  <c:v>3.2488299639938642E-2</c:v>
                </c:pt>
                <c:pt idx="8">
                  <c:v>9.9426640599782373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8">
                  <c:v>2.4685547676057795E-2</c:v>
                </c:pt>
                <c:pt idx="9">
                  <c:v>4.175203301837152E-2</c:v>
                </c:pt>
                <c:pt idx="10">
                  <c:v>8.5975608799879435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Tartar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4">
                  <c:v>1.2264569185720909E-4</c:v>
                </c:pt>
                <c:pt idx="5">
                  <c:v>2.1196981326732953E-5</c:v>
                </c:pt>
                <c:pt idx="6">
                  <c:v>7.9070002757186293E-3</c:v>
                </c:pt>
                <c:pt idx="7">
                  <c:v>5.7134737096229737E-2</c:v>
                </c:pt>
                <c:pt idx="8">
                  <c:v>4.0666366576069396E-2</c:v>
                </c:pt>
                <c:pt idx="9">
                  <c:v>1.382455755327223E-2</c:v>
                </c:pt>
                <c:pt idx="10">
                  <c:v>4.7867814698262599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1">
                  <c:v>1.1682546808676057E-6</c:v>
                </c:pt>
                <c:pt idx="2">
                  <c:v>6.6486321121700463E-4</c:v>
                </c:pt>
                <c:pt idx="3">
                  <c:v>7.9034218379574143E-3</c:v>
                </c:pt>
                <c:pt idx="4">
                  <c:v>2.4489354563390652E-3</c:v>
                </c:pt>
                <c:pt idx="5">
                  <c:v>8.3931941944815035E-3</c:v>
                </c:pt>
                <c:pt idx="6">
                  <c:v>8.509519733763389E-2</c:v>
                </c:pt>
                <c:pt idx="7">
                  <c:v>2.8320314257562203E-2</c:v>
                </c:pt>
                <c:pt idx="8">
                  <c:v>8.1852206542080974E-2</c:v>
                </c:pt>
                <c:pt idx="9">
                  <c:v>4.1388505841099744E-2</c:v>
                </c:pt>
                <c:pt idx="10">
                  <c:v>1.2172687533793215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7">
                  <c:v>5.0099999999999999E-2</c:v>
                </c:pt>
                <c:pt idx="8">
                  <c:v>0.94989999999999997</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6.4184151077648034E-3</c:v>
                </c:pt>
                <c:pt idx="1">
                  <c:v>1.2433173216472356E-2</c:v>
                </c:pt>
                <c:pt idx="2">
                  <c:v>1.6653419563341498E-2</c:v>
                </c:pt>
                <c:pt idx="3">
                  <c:v>4.528856379315839E-2</c:v>
                </c:pt>
                <c:pt idx="4">
                  <c:v>6.0469880502980883E-2</c:v>
                </c:pt>
                <c:pt idx="5">
                  <c:v>6.8046692315063287E-2</c:v>
                </c:pt>
                <c:pt idx="6">
                  <c:v>0.10564996279910281</c:v>
                </c:pt>
                <c:pt idx="7">
                  <c:v>0.20914003576282761</c:v>
                </c:pt>
                <c:pt idx="8">
                  <c:v>0.18189208301942128</c:v>
                </c:pt>
                <c:pt idx="9">
                  <c:v>5.0891551137366327E-2</c:v>
                </c:pt>
                <c:pt idx="10">
                  <c:v>0.24311622278250078</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2">
                  <c:v>8.139294344834435E-6</c:v>
                </c:pt>
                <c:pt idx="3">
                  <c:v>0.14599777078309215</c:v>
                </c:pt>
                <c:pt idx="4">
                  <c:v>0.3510318236626534</c:v>
                </c:pt>
                <c:pt idx="5">
                  <c:v>3.7263721959881675E-3</c:v>
                </c:pt>
                <c:pt idx="6">
                  <c:v>1.0554014983310694E-3</c:v>
                </c:pt>
                <c:pt idx="7">
                  <c:v>2.148157798940302E-2</c:v>
                </c:pt>
                <c:pt idx="8">
                  <c:v>7.4162946944252003E-2</c:v>
                </c:pt>
                <c:pt idx="9">
                  <c:v>6.312739820105259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2">
                  <c:v>3.7673915802067669E-4</c:v>
                </c:pt>
                <c:pt idx="4">
                  <c:v>1.6905418825910495E-6</c:v>
                </c:pt>
                <c:pt idx="5">
                  <c:v>2.1511670584655771E-6</c:v>
                </c:pt>
                <c:pt idx="6">
                  <c:v>1.2273239093347952E-3</c:v>
                </c:pt>
                <c:pt idx="7">
                  <c:v>3.1593521019129306E-3</c:v>
                </c:pt>
                <c:pt idx="8">
                  <c:v>0.1403805132452864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5">
                  <c:v>8.4379100484128458E-2</c:v>
                </c:pt>
                <c:pt idx="6">
                  <c:v>2.7918017038439779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0195170591014295E-2</c:v>
                </c:pt>
                <c:pt idx="1">
                  <c:v>6.5559309181143974E-4</c:v>
                </c:pt>
                <c:pt idx="2">
                  <c:v>1.4660797092587077E-3</c:v>
                </c:pt>
                <c:pt idx="3">
                  <c:v>2.6027221922172144E-3</c:v>
                </c:pt>
                <c:pt idx="4">
                  <c:v>3.8762748240998295E-3</c:v>
                </c:pt>
                <c:pt idx="5">
                  <c:v>4.2396985904385245E-3</c:v>
                </c:pt>
                <c:pt idx="6">
                  <c:v>1.9716001690275955E-2</c:v>
                </c:pt>
                <c:pt idx="7">
                  <c:v>0.10347946000635207</c:v>
                </c:pt>
                <c:pt idx="8">
                  <c:v>6.4769265773821855E-3</c:v>
                </c:pt>
                <c:pt idx="9">
                  <c:v>1.126029109060779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7">
                  <c:v>5.6185465938068154E-4</c:v>
                </c:pt>
                <c:pt idx="8">
                  <c:v>1.0642447438020322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6.0406870450386077E-4</c:v>
                </c:pt>
                <c:pt idx="1">
                  <c:v>5.648341745034556E-3</c:v>
                </c:pt>
                <c:pt idx="2">
                  <c:v>1.9483797523056189E-4</c:v>
                </c:pt>
                <c:pt idx="3">
                  <c:v>2.2247713587432619E-2</c:v>
                </c:pt>
                <c:pt idx="4">
                  <c:v>4.1343411473230188E-2</c:v>
                </c:pt>
                <c:pt idx="5">
                  <c:v>4.3725880508402653E-3</c:v>
                </c:pt>
                <c:pt idx="6">
                  <c:v>4.1440990923866085E-2</c:v>
                </c:pt>
                <c:pt idx="7">
                  <c:v>0.11830612581192236</c:v>
                </c:pt>
                <c:pt idx="8">
                  <c:v>0.13338433747979911</c:v>
                </c:pt>
                <c:pt idx="9">
                  <c:v>4.5186169508003936E-2</c:v>
                </c:pt>
                <c:pt idx="10">
                  <c:v>0.1990006993601412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alak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1.0373462332664182E-6</c:v>
                </c:pt>
                <c:pt idx="1">
                  <c:v>3.0774919553610828E-5</c:v>
                </c:pt>
                <c:pt idx="4">
                  <c:v>2.0936176639641302E-4</c:v>
                </c:pt>
                <c:pt idx="5">
                  <c:v>1.1954430850568996E-2</c:v>
                </c:pt>
                <c:pt idx="6">
                  <c:v>1.5789455511649245E-2</c:v>
                </c:pt>
                <c:pt idx="7">
                  <c:v>3.6089201831129236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Galbani</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4.4770126651555495E-5</c:v>
                </c:pt>
                <c:pt idx="1">
                  <c:v>1.6185829377370841E-3</c:v>
                </c:pt>
                <c:pt idx="2">
                  <c:v>6.2229069634481455E-4</c:v>
                </c:pt>
                <c:pt idx="3">
                  <c:v>1.6948547870356218E-3</c:v>
                </c:pt>
                <c:pt idx="4">
                  <c:v>9.7695163351760855E-3</c:v>
                </c:pt>
                <c:pt idx="5">
                  <c:v>3.5471246468041374E-2</c:v>
                </c:pt>
                <c:pt idx="6">
                  <c:v>1.2537394892261569E-2</c:v>
                </c:pt>
                <c:pt idx="7">
                  <c:v>1.3691035283868136E-2</c:v>
                </c:pt>
                <c:pt idx="8">
                  <c:v>1.4685893740976209E-2</c:v>
                </c:pt>
                <c:pt idx="9">
                  <c:v>1.3849072481170953E-3</c:v>
                </c:pt>
                <c:pt idx="10">
                  <c:v>2.9322379030104984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5.7685389303761209E-3</c:v>
                </c:pt>
                <c:pt idx="1">
                  <c:v>5.1354736141471053E-3</c:v>
                </c:pt>
                <c:pt idx="2">
                  <c:v>1.5836290891766119E-2</c:v>
                </c:pt>
                <c:pt idx="3">
                  <c:v>2.1345995418690148E-2</c:v>
                </c:pt>
                <c:pt idx="4">
                  <c:v>9.1475909281781998E-3</c:v>
                </c:pt>
                <c:pt idx="5">
                  <c:v>1.6248426945612661E-2</c:v>
                </c:pt>
                <c:pt idx="6">
                  <c:v>3.5882121471325912E-2</c:v>
                </c:pt>
                <c:pt idx="7">
                  <c:v>4.0491818176527195E-2</c:v>
                </c:pt>
                <c:pt idx="8">
                  <c:v>2.3179404360625627E-2</c:v>
                </c:pt>
                <c:pt idx="9">
                  <c:v>4.3204743812452952E-3</c:v>
                </c:pt>
                <c:pt idx="10">
                  <c:v>1.4793144392254549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7">
                  <c:v>0.2233</c:v>
                </c:pt>
                <c:pt idx="8">
                  <c:v>0.77669999999999995</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2664777716174216E-2</c:v>
                </c:pt>
                <c:pt idx="1">
                  <c:v>1.455215005945285E-2</c:v>
                </c:pt>
                <c:pt idx="2">
                  <c:v>3.1793157987583059E-2</c:v>
                </c:pt>
                <c:pt idx="3">
                  <c:v>4.8197250418922831E-2</c:v>
                </c:pt>
                <c:pt idx="4">
                  <c:v>3.6172401739128744E-2</c:v>
                </c:pt>
                <c:pt idx="5">
                  <c:v>0.10756737889583759</c:v>
                </c:pt>
                <c:pt idx="6">
                  <c:v>0.1437797360274827</c:v>
                </c:pt>
                <c:pt idx="7">
                  <c:v>0.16541094068946494</c:v>
                </c:pt>
                <c:pt idx="8">
                  <c:v>0.17248314445239338</c:v>
                </c:pt>
                <c:pt idx="9">
                  <c:v>0.20438488641867086</c:v>
                </c:pt>
                <c:pt idx="10">
                  <c:v>6.2994175594888818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4">
                  <c:v>2.0902637989208867E-7</c:v>
                </c:pt>
                <c:pt idx="7">
                  <c:v>3.7298040148804625E-3</c:v>
                </c:pt>
                <c:pt idx="8">
                  <c:v>1.2975505881202803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6.8193811307894463E-4</c:v>
                </c:pt>
                <c:pt idx="1">
                  <c:v>6.0173469111435029E-5</c:v>
                </c:pt>
                <c:pt idx="2">
                  <c:v>8.963845470016352E-3</c:v>
                </c:pt>
                <c:pt idx="3">
                  <c:v>2.3701830432512266E-2</c:v>
                </c:pt>
                <c:pt idx="4">
                  <c:v>1.3538136962298842E-2</c:v>
                </c:pt>
                <c:pt idx="5">
                  <c:v>5.2050714440147451E-2</c:v>
                </c:pt>
                <c:pt idx="6">
                  <c:v>6.6835411572889747E-2</c:v>
                </c:pt>
                <c:pt idx="7">
                  <c:v>7.8245022457428454E-2</c:v>
                </c:pt>
                <c:pt idx="8">
                  <c:v>0.12333337649728078</c:v>
                </c:pt>
                <c:pt idx="9">
                  <c:v>0.18253935133240679</c:v>
                </c:pt>
                <c:pt idx="10">
                  <c:v>3.1980889805023643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alak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2.8323074475378015E-6</c:v>
                </c:pt>
                <c:pt idx="3">
                  <c:v>8.0997722208184354E-7</c:v>
                </c:pt>
                <c:pt idx="4">
                  <c:v>3.4743737786523303E-3</c:v>
                </c:pt>
                <c:pt idx="5">
                  <c:v>1.0002058596302368E-2</c:v>
                </c:pt>
                <c:pt idx="6">
                  <c:v>2.3991525318064207E-2</c:v>
                </c:pt>
                <c:pt idx="7">
                  <c:v>3.0133399695028422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Galbani</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1.7244676341097316E-7</c:v>
                </c:pt>
                <c:pt idx="1">
                  <c:v>6.8490106201391507E-4</c:v>
                </c:pt>
                <c:pt idx="2">
                  <c:v>5.0108326353681221E-4</c:v>
                </c:pt>
                <c:pt idx="3">
                  <c:v>3.149750585020419E-3</c:v>
                </c:pt>
                <c:pt idx="4">
                  <c:v>8.9383965082644908E-3</c:v>
                </c:pt>
                <c:pt idx="5">
                  <c:v>2.4433093545586246E-2</c:v>
                </c:pt>
                <c:pt idx="6">
                  <c:v>1.1380854080325055E-2</c:v>
                </c:pt>
                <c:pt idx="7">
                  <c:v>1.5430902186178689E-2</c:v>
                </c:pt>
                <c:pt idx="8">
                  <c:v>6.3719131336949552E-3</c:v>
                </c:pt>
                <c:pt idx="9">
                  <c:v>1.3821451317604578E-2</c:v>
                </c:pt>
                <c:pt idx="10">
                  <c:v>1.774418145546594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1.1979834848884326E-2</c:v>
                </c:pt>
                <c:pt idx="1">
                  <c:v>1.38070755283275E-2</c:v>
                </c:pt>
                <c:pt idx="2">
                  <c:v>2.2328229254029896E-2</c:v>
                </c:pt>
                <c:pt idx="3">
                  <c:v>2.1344859424168066E-2</c:v>
                </c:pt>
                <c:pt idx="4">
                  <c:v>1.0221285463533189E-2</c:v>
                </c:pt>
                <c:pt idx="5">
                  <c:v>2.1081512313801523E-2</c:v>
                </c:pt>
                <c:pt idx="6">
                  <c:v>4.1571945056203694E-2</c:v>
                </c:pt>
                <c:pt idx="7">
                  <c:v>3.7871812335948912E-2</c:v>
                </c:pt>
                <c:pt idx="8">
                  <c:v>2.9802348940214829E-2</c:v>
                </c:pt>
                <c:pt idx="9">
                  <c:v>8.0240837686595106E-3</c:v>
                </c:pt>
                <c:pt idx="10">
                  <c:v>1.3269104334399231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6">
                  <c:v>4.6399999999999997E-2</c:v>
                </c:pt>
                <c:pt idx="7">
                  <c:v>7.5700000000000003E-2</c:v>
                </c:pt>
                <c:pt idx="8">
                  <c:v>0.87790000000000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4.1233788397141476E-3</c:v>
                </c:pt>
                <c:pt idx="1">
                  <c:v>3.9175222582530523E-3</c:v>
                </c:pt>
                <c:pt idx="2">
                  <c:v>2.0573970079543279E-2</c:v>
                </c:pt>
                <c:pt idx="3">
                  <c:v>9.2174349105215783E-2</c:v>
                </c:pt>
                <c:pt idx="4">
                  <c:v>2.4063880146346323E-2</c:v>
                </c:pt>
                <c:pt idx="5">
                  <c:v>8.1603425497824275E-2</c:v>
                </c:pt>
                <c:pt idx="6">
                  <c:v>0.12296985512425648</c:v>
                </c:pt>
                <c:pt idx="7">
                  <c:v>0.20932020763186437</c:v>
                </c:pt>
                <c:pt idx="8">
                  <c:v>0.14848773889644468</c:v>
                </c:pt>
                <c:pt idx="9">
                  <c:v>0.13344545786542819</c:v>
                </c:pt>
                <c:pt idx="10">
                  <c:v>0.15932021455510939</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6">
                  <c:v>6.7741101620392009E-4</c:v>
                </c:pt>
                <c:pt idx="7">
                  <c:v>1.1066114815078863E-3</c:v>
                </c:pt>
                <c:pt idx="8">
                  <c:v>1.2830687066825287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2">
                  <c:v>1.3363654757254455E-3</c:v>
                </c:pt>
                <c:pt idx="3">
                  <c:v>8.7012190295048905E-2</c:v>
                </c:pt>
                <c:pt idx="4">
                  <c:v>1.268574689640904E-3</c:v>
                </c:pt>
                <c:pt idx="5">
                  <c:v>1.0192482745461189E-3</c:v>
                </c:pt>
                <c:pt idx="6">
                  <c:v>3.1913976611991468E-2</c:v>
                </c:pt>
                <c:pt idx="7">
                  <c:v>0.11080357151802092</c:v>
                </c:pt>
                <c:pt idx="8">
                  <c:v>9.8545501973014871E-2</c:v>
                </c:pt>
                <c:pt idx="9">
                  <c:v>0.12773422056645714</c:v>
                </c:pt>
                <c:pt idx="10">
                  <c:v>0.1122901225403777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1.1388330782579099E-4</c:v>
                </c:pt>
                <c:pt idx="1">
                  <c:v>1.182099287038528E-3</c:v>
                </c:pt>
                <c:pt idx="2">
                  <c:v>3.7134657204931074E-4</c:v>
                </c:pt>
                <c:pt idx="3">
                  <c:v>3.8658096905670306E-3</c:v>
                </c:pt>
                <c:pt idx="4">
                  <c:v>1.8925822373788977E-2</c:v>
                </c:pt>
                <c:pt idx="5">
                  <c:v>5.1330828101471021E-2</c:v>
                </c:pt>
                <c:pt idx="6">
                  <c:v>2.4754917737717784E-2</c:v>
                </c:pt>
                <c:pt idx="7">
                  <c:v>2.6714253088929971E-2</c:v>
                </c:pt>
                <c:pt idx="8">
                  <c:v>2.276403682426777E-2</c:v>
                </c:pt>
                <c:pt idx="9">
                  <c:v>2.986582009986952E-3</c:v>
                </c:pt>
                <c:pt idx="10">
                  <c:v>3.7292450176073189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alaki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4">
                  <c:v>1.0368088818749992E-3</c:v>
                </c:pt>
                <c:pt idx="5">
                  <c:v>2.0182016672363141E-2</c:v>
                </c:pt>
                <c:pt idx="6">
                  <c:v>2.3140351842732023E-2</c:v>
                </c:pt>
                <c:pt idx="7">
                  <c:v>4.0682909864636144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4.0094955318883563E-3</c:v>
                </c:pt>
                <c:pt idx="1">
                  <c:v>2.7354229712145241E-3</c:v>
                </c:pt>
                <c:pt idx="2">
                  <c:v>1.8866258031768522E-2</c:v>
                </c:pt>
                <c:pt idx="3">
                  <c:v>1.2963491195998476E-3</c:v>
                </c:pt>
                <c:pt idx="4">
                  <c:v>2.8326742010414403E-3</c:v>
                </c:pt>
                <c:pt idx="5">
                  <c:v>9.0713324494440008E-3</c:v>
                </c:pt>
                <c:pt idx="6">
                  <c:v>4.2483197915611295E-2</c:v>
                </c:pt>
                <c:pt idx="7">
                  <c:v>3.0012861678769463E-2</c:v>
                </c:pt>
                <c:pt idx="8">
                  <c:v>1.4347513032336759E-2</c:v>
                </c:pt>
                <c:pt idx="9">
                  <c:v>2.7246552889841065E-3</c:v>
                </c:pt>
                <c:pt idx="10">
                  <c:v>9.7376418386584673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233413980241707E-2</c:v>
                </c:pt>
                <c:pt idx="1">
                  <c:v>1.8516038253045788E-2</c:v>
                </c:pt>
                <c:pt idx="2">
                  <c:v>1.0825272627964894E-2</c:v>
                </c:pt>
                <c:pt idx="3">
                  <c:v>1.3085022230190355E-2</c:v>
                </c:pt>
                <c:pt idx="4">
                  <c:v>2.27156576849857E-2</c:v>
                </c:pt>
                <c:pt idx="5">
                  <c:v>0.15241475836441309</c:v>
                </c:pt>
                <c:pt idx="6">
                  <c:v>0.1326046133269137</c:v>
                </c:pt>
                <c:pt idx="7">
                  <c:v>0.14706949062230559</c:v>
                </c:pt>
                <c:pt idx="8">
                  <c:v>0.27489550926231998</c:v>
                </c:pt>
                <c:pt idx="9">
                  <c:v>0.18418147748810215</c:v>
                </c:pt>
                <c:pt idx="10">
                  <c:v>2.135802033734167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2.0239547921764041E-4</c:v>
                </c:pt>
                <c:pt idx="1">
                  <c:v>2.6155826392256924E-4</c:v>
                </c:pt>
                <c:pt idx="2">
                  <c:v>1.6105252827636695E-4</c:v>
                </c:pt>
                <c:pt idx="3">
                  <c:v>2.96035532044395E-7</c:v>
                </c:pt>
                <c:pt idx="4">
                  <c:v>4.327278483194817E-3</c:v>
                </c:pt>
                <c:pt idx="5">
                  <c:v>2.6641117272685588E-2</c:v>
                </c:pt>
                <c:pt idx="6">
                  <c:v>4.6877816897776911E-2</c:v>
                </c:pt>
                <c:pt idx="7">
                  <c:v>2.922080602178018E-3</c:v>
                </c:pt>
                <c:pt idx="8">
                  <c:v>0.15826895383529171</c:v>
                </c:pt>
                <c:pt idx="9">
                  <c:v>0.12122166244086677</c:v>
                </c:pt>
                <c:pt idx="10">
                  <c:v>1.4596743563487793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1.3018037082867506E-4</c:v>
                </c:pt>
                <c:pt idx="1">
                  <c:v>6.4300171947890249E-4</c:v>
                </c:pt>
                <c:pt idx="2">
                  <c:v>1.6497541720523774E-3</c:v>
                </c:pt>
                <c:pt idx="3">
                  <c:v>1.3439946254130326E-3</c:v>
                </c:pt>
                <c:pt idx="4">
                  <c:v>2.512854128313462E-3</c:v>
                </c:pt>
                <c:pt idx="5">
                  <c:v>9.0940978132389619E-2</c:v>
                </c:pt>
                <c:pt idx="6">
                  <c:v>4.0292258954914076E-2</c:v>
                </c:pt>
                <c:pt idx="7">
                  <c:v>1.3849474617336882E-2</c:v>
                </c:pt>
                <c:pt idx="8">
                  <c:v>5.5697814241133974E-3</c:v>
                </c:pt>
                <c:pt idx="10">
                  <c:v>3.8131718051300349E-5</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eur De Li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2">
                  <c:v>1.9245152862007006E-4</c:v>
                </c:pt>
                <c:pt idx="3">
                  <c:v>4.6965543766289862E-3</c:v>
                </c:pt>
                <c:pt idx="5">
                  <c:v>3.7292206440384962E-3</c:v>
                </c:pt>
                <c:pt idx="6">
                  <c:v>9.8584916622859332E-3</c:v>
                </c:pt>
                <c:pt idx="7">
                  <c:v>6.7705722895600715E-2</c:v>
                </c:pt>
                <c:pt idx="8">
                  <c:v>3.598281619439564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2001563952370753E-2</c:v>
                </c:pt>
                <c:pt idx="1">
                  <c:v>1.7611478269644317E-2</c:v>
                </c:pt>
                <c:pt idx="2">
                  <c:v>8.8220143990160784E-3</c:v>
                </c:pt>
                <c:pt idx="3">
                  <c:v>7.0441771926162905E-3</c:v>
                </c:pt>
                <c:pt idx="4">
                  <c:v>1.587552507347742E-2</c:v>
                </c:pt>
                <c:pt idx="5">
                  <c:v>3.1103442315299382E-2</c:v>
                </c:pt>
                <c:pt idx="6">
                  <c:v>3.5576045811936782E-2</c:v>
                </c:pt>
                <c:pt idx="7">
                  <c:v>6.2592212507189979E-2</c:v>
                </c:pt>
                <c:pt idx="8">
                  <c:v>7.5073957808519234E-2</c:v>
                </c:pt>
                <c:pt idx="9">
                  <c:v>6.2959815047235385E-2</c:v>
                </c:pt>
                <c:pt idx="10">
                  <c:v>6.7231450558025768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9772656352017654E-2</c:v>
                </c:pt>
                <c:pt idx="1">
                  <c:v>2.3212152827471175E-2</c:v>
                </c:pt>
                <c:pt idx="2">
                  <c:v>9.5276320472047864E-3</c:v>
                </c:pt>
                <c:pt idx="3">
                  <c:v>2.0834565919059692E-2</c:v>
                </c:pt>
                <c:pt idx="4">
                  <c:v>5.6280952496327266E-2</c:v>
                </c:pt>
                <c:pt idx="5">
                  <c:v>0.14858554007140798</c:v>
                </c:pt>
                <c:pt idx="6">
                  <c:v>0.13431405689832426</c:v>
                </c:pt>
                <c:pt idx="7">
                  <c:v>0.17459164325638371</c:v>
                </c:pt>
                <c:pt idx="8">
                  <c:v>0.24859878263049723</c:v>
                </c:pt>
                <c:pt idx="9">
                  <c:v>0.15784269013818414</c:v>
                </c:pt>
                <c:pt idx="10">
                  <c:v>6.4393273631220939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1.1072206953701329E-4</c:v>
                </c:pt>
                <c:pt idx="1">
                  <c:v>9.8258963677779861E-7</c:v>
                </c:pt>
                <c:pt idx="2">
                  <c:v>5.3737979969518241E-4</c:v>
                </c:pt>
                <c:pt idx="3">
                  <c:v>3.7915792159768625E-3</c:v>
                </c:pt>
                <c:pt idx="4">
                  <c:v>1.74384459394888E-2</c:v>
                </c:pt>
                <c:pt idx="5">
                  <c:v>2.398886702522296E-2</c:v>
                </c:pt>
                <c:pt idx="6">
                  <c:v>2.8077040668504298E-2</c:v>
                </c:pt>
                <c:pt idx="7">
                  <c:v>2.4364165355091935E-2</c:v>
                </c:pt>
                <c:pt idx="8">
                  <c:v>0.11227914318733516</c:v>
                </c:pt>
                <c:pt idx="9">
                  <c:v>0.10566720078983508</c:v>
                </c:pt>
                <c:pt idx="10">
                  <c:v>6.3641668926156143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1.6800755447496039E-7</c:v>
                </c:pt>
                <c:pt idx="1">
                  <c:v>9.0931288733664395E-4</c:v>
                </c:pt>
                <c:pt idx="2">
                  <c:v>4.389767568115952E-3</c:v>
                </c:pt>
                <c:pt idx="3">
                  <c:v>2.3038977767911605E-3</c:v>
                </c:pt>
                <c:pt idx="4">
                  <c:v>2.0754355039642937E-2</c:v>
                </c:pt>
                <c:pt idx="5">
                  <c:v>8.4672717134605294E-2</c:v>
                </c:pt>
                <c:pt idx="6">
                  <c:v>3.3036414939946537E-2</c:v>
                </c:pt>
                <c:pt idx="7">
                  <c:v>1.4734461081836587E-2</c:v>
                </c:pt>
                <c:pt idx="8">
                  <c:v>4.7791785325608238E-3</c:v>
                </c:pt>
                <c:pt idx="9">
                  <c:v>2.5608424212395474E-6</c:v>
                </c:pt>
                <c:pt idx="10">
                  <c:v>3.0887934333320745E-5</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eur De Li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2">
                  <c:v>3.5823283524473069E-4</c:v>
                </c:pt>
                <c:pt idx="3">
                  <c:v>7.7176408426039098E-3</c:v>
                </c:pt>
                <c:pt idx="4">
                  <c:v>1.4611566101307161E-6</c:v>
                </c:pt>
                <c:pt idx="5">
                  <c:v>2.6771749248684216E-4</c:v>
                </c:pt>
                <c:pt idx="6">
                  <c:v>2.7288245200244362E-2</c:v>
                </c:pt>
                <c:pt idx="7">
                  <c:v>4.7237192388286393E-2</c:v>
                </c:pt>
                <c:pt idx="8">
                  <c:v>4.7206900117100756E-2</c:v>
                </c:pt>
                <c:pt idx="9">
                  <c:v>4.5335056676763021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1.9661766274926166E-2</c:v>
                </c:pt>
                <c:pt idx="1">
                  <c:v>2.2301857350497754E-2</c:v>
                </c:pt>
                <c:pt idx="2">
                  <c:v>4.2422518441489225E-3</c:v>
                </c:pt>
                <c:pt idx="3">
                  <c:v>7.0214480836877603E-3</c:v>
                </c:pt>
                <c:pt idx="4">
                  <c:v>1.8086690360585397E-2</c:v>
                </c:pt>
                <c:pt idx="5">
                  <c:v>3.9656238419092903E-2</c:v>
                </c:pt>
                <c:pt idx="6">
                  <c:v>4.5912356089629056E-2</c:v>
                </c:pt>
                <c:pt idx="7">
                  <c:v>8.8255824431168806E-2</c:v>
                </c:pt>
                <c:pt idx="8">
                  <c:v>8.4333560793500489E-2</c:v>
                </c:pt>
                <c:pt idx="9">
                  <c:v>5.1719577939160176E-2</c:v>
                </c:pt>
                <c:pt idx="10">
                  <c:v>4.4272536173159256E-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3.180570518301911E-2</c:v>
                </c:pt>
                <c:pt idx="1">
                  <c:v>7.1787501568152164E-3</c:v>
                </c:pt>
                <c:pt idx="2">
                  <c:v>7.4170086151862345E-3</c:v>
                </c:pt>
                <c:pt idx="3">
                  <c:v>1.2870735468148011E-2</c:v>
                </c:pt>
                <c:pt idx="4">
                  <c:v>6.6308669366560491E-2</c:v>
                </c:pt>
                <c:pt idx="5">
                  <c:v>0.16040717619239409</c:v>
                </c:pt>
                <c:pt idx="6">
                  <c:v>0.13239687151562307</c:v>
                </c:pt>
                <c:pt idx="7">
                  <c:v>0.17333995418547299</c:v>
                </c:pt>
                <c:pt idx="8">
                  <c:v>0.20746469137783646</c:v>
                </c:pt>
                <c:pt idx="9">
                  <c:v>0.13202397008973621</c:v>
                </c:pt>
                <c:pt idx="10">
                  <c:v>6.8786467849208124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aprice Des Dieux</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2.8336730136716521E-6</c:v>
                </c:pt>
                <c:pt idx="1">
                  <c:v>4.8682005239262548E-5</c:v>
                </c:pt>
                <c:pt idx="2">
                  <c:v>2.8813918186540743E-3</c:v>
                </c:pt>
                <c:pt idx="3">
                  <c:v>3.3094815121602729E-3</c:v>
                </c:pt>
                <c:pt idx="4">
                  <c:v>1.5610344208995217E-2</c:v>
                </c:pt>
                <c:pt idx="5">
                  <c:v>9.3941797251143294E-2</c:v>
                </c:pt>
                <c:pt idx="6">
                  <c:v>3.8529799961824956E-2</c:v>
                </c:pt>
                <c:pt idx="7">
                  <c:v>2.5987851347800527E-2</c:v>
                </c:pt>
                <c:pt idx="8">
                  <c:v>2.4451056016719266E-3</c:v>
                </c:pt>
                <c:pt idx="9">
                  <c:v>9.9924258903158255E-6</c:v>
                </c:pt>
                <c:pt idx="10">
                  <c:v>5.6549176369324639E-7</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1.5779084465603199E-4</c:v>
                </c:pt>
                <c:pt idx="1">
                  <c:v>9.5077186642930433E-7</c:v>
                </c:pt>
                <c:pt idx="2">
                  <c:v>2.3452372705256172E-5</c:v>
                </c:pt>
                <c:pt idx="3">
                  <c:v>2.4147741148742704E-4</c:v>
                </c:pt>
                <c:pt idx="4">
                  <c:v>2.5505033237120191E-2</c:v>
                </c:pt>
                <c:pt idx="5">
                  <c:v>5.2118020194195586E-3</c:v>
                </c:pt>
                <c:pt idx="6">
                  <c:v>4.7774440672096533E-2</c:v>
                </c:pt>
                <c:pt idx="7">
                  <c:v>1.0407614914575571E-2</c:v>
                </c:pt>
                <c:pt idx="8">
                  <c:v>8.0755051314214038E-2</c:v>
                </c:pt>
                <c:pt idx="9">
                  <c:v>5.3486659403018173E-2</c:v>
                </c:pt>
                <c:pt idx="10">
                  <c:v>6.8785902357444431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4.8966056102102314E-3</c:v>
                </c:pt>
                <c:pt idx="1">
                  <c:v>6.8056063773153435E-3</c:v>
                </c:pt>
                <c:pt idx="3">
                  <c:v>6.5280120632940145E-5</c:v>
                </c:pt>
                <c:pt idx="4">
                  <c:v>1.1993396746461159E-4</c:v>
                </c:pt>
                <c:pt idx="5">
                  <c:v>1.5752040288069209E-2</c:v>
                </c:pt>
                <c:pt idx="6">
                  <c:v>1.5937875795687305E-2</c:v>
                </c:pt>
                <c:pt idx="7">
                  <c:v>5.3315421039937611E-2</c:v>
                </c:pt>
                <c:pt idx="8">
                  <c:v>1.3359245781636511E-2</c:v>
                </c:pt>
                <c:pt idx="9">
                  <c:v>6.982920980467764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6748475055139175E-2</c:v>
                </c:pt>
                <c:pt idx="1">
                  <c:v>3.2351100239418025E-4</c:v>
                </c:pt>
                <c:pt idx="2">
                  <c:v>4.5121644238269041E-3</c:v>
                </c:pt>
                <c:pt idx="3">
                  <c:v>9.2544964238673727E-3</c:v>
                </c:pt>
                <c:pt idx="4">
                  <c:v>2.5073357952980466E-2</c:v>
                </c:pt>
                <c:pt idx="5">
                  <c:v>4.5501536633762003E-2</c:v>
                </c:pt>
                <c:pt idx="6">
                  <c:v>3.0154755086014281E-2</c:v>
                </c:pt>
                <c:pt idx="7">
                  <c:v>8.3629066883159284E-2</c:v>
                </c:pt>
                <c:pt idx="8">
                  <c:v>0.11090528868031398</c:v>
                </c:pt>
                <c:pt idx="9">
                  <c:v>8.698108456150065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3.3951101757598065E-2</c:v>
                </c:pt>
                <c:pt idx="1">
                  <c:v>2.171650644987758E-2</c:v>
                </c:pt>
                <c:pt idx="2">
                  <c:v>4.1399587782975131E-2</c:v>
                </c:pt>
                <c:pt idx="3">
                  <c:v>2.1668009689674434E-2</c:v>
                </c:pt>
                <c:pt idx="4">
                  <c:v>5.2557201124251975E-2</c:v>
                </c:pt>
                <c:pt idx="5">
                  <c:v>6.3701696813512995E-2</c:v>
                </c:pt>
                <c:pt idx="6">
                  <c:v>0.13085829476746524</c:v>
                </c:pt>
                <c:pt idx="7">
                  <c:v>0.17790741654622319</c:v>
                </c:pt>
                <c:pt idx="8">
                  <c:v>0.38182493017031233</c:v>
                </c:pt>
                <c:pt idx="9">
                  <c:v>7.1585046101095867E-2</c:v>
                </c:pt>
                <c:pt idx="10">
                  <c:v>2.8302087970132738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1.1623776833627002E-3</c:v>
                </c:pt>
                <c:pt idx="1">
                  <c:v>8.7656337149180381E-4</c:v>
                </c:pt>
                <c:pt idx="2">
                  <c:v>1.997401370399722E-2</c:v>
                </c:pt>
                <c:pt idx="3">
                  <c:v>1.6318094678739201E-3</c:v>
                </c:pt>
                <c:pt idx="4">
                  <c:v>6.8065736745573351E-3</c:v>
                </c:pt>
                <c:pt idx="5">
                  <c:v>4.2331941951958073E-2</c:v>
                </c:pt>
                <c:pt idx="6">
                  <c:v>1.0987943876921608E-2</c:v>
                </c:pt>
                <c:pt idx="7">
                  <c:v>0.10022590213000396</c:v>
                </c:pt>
                <c:pt idx="8">
                  <c:v>0.1956236050586164</c:v>
                </c:pt>
                <c:pt idx="9">
                  <c:v>6.9275193899495061E-2</c:v>
                </c:pt>
                <c:pt idx="10">
                  <c:v>2.5735545708546179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3.5754374852480474E-4</c:v>
                </c:pt>
                <c:pt idx="2">
                  <c:v>8.0046715052893927E-4</c:v>
                </c:pt>
                <c:pt idx="3">
                  <c:v>2.5948633414850514E-7</c:v>
                </c:pt>
                <c:pt idx="4">
                  <c:v>3.273279241273426E-2</c:v>
                </c:pt>
                <c:pt idx="5">
                  <c:v>3.1311350987252953E-6</c:v>
                </c:pt>
                <c:pt idx="6">
                  <c:v>7.7690728652379942E-2</c:v>
                </c:pt>
                <c:pt idx="7">
                  <c:v>2.2557626459423118E-2</c:v>
                </c:pt>
                <c:pt idx="8">
                  <c:v>0.1138995715774357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3">
                  <c:v>2.1390953659405658E-3</c:v>
                </c:pt>
                <c:pt idx="4">
                  <c:v>1.0266638593046117E-4</c:v>
                </c:pt>
                <c:pt idx="6">
                  <c:v>2.2550160666894904E-2</c:v>
                </c:pt>
                <c:pt idx="7">
                  <c:v>2.6964534769534014E-3</c:v>
                </c:pt>
                <c:pt idx="8">
                  <c:v>4.870493991078667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3.243118032571056E-2</c:v>
                </c:pt>
                <c:pt idx="1">
                  <c:v>2.0839943078385777E-2</c:v>
                </c:pt>
                <c:pt idx="2">
                  <c:v>2.0625106928448968E-2</c:v>
                </c:pt>
                <c:pt idx="3">
                  <c:v>1.7896845369525804E-2</c:v>
                </c:pt>
                <c:pt idx="4">
                  <c:v>1.2915168651029919E-2</c:v>
                </c:pt>
                <c:pt idx="5">
                  <c:v>2.1366623726456209E-2</c:v>
                </c:pt>
                <c:pt idx="6">
                  <c:v>1.9629461571268787E-2</c:v>
                </c:pt>
                <c:pt idx="7">
                  <c:v>5.242743447984273E-2</c:v>
                </c:pt>
                <c:pt idx="8">
                  <c:v>2.3596813623473423E-2</c:v>
                </c:pt>
                <c:pt idx="9">
                  <c:v>2.3098522016008045E-3</c:v>
                </c:pt>
                <c:pt idx="10">
                  <c:v>2.566542261586557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5229844271682886E-2</c:v>
                </c:pt>
                <c:pt idx="1">
                  <c:v>1.2590592051960471E-3</c:v>
                </c:pt>
                <c:pt idx="2">
                  <c:v>3.2731555461713205E-2</c:v>
                </c:pt>
                <c:pt idx="3">
                  <c:v>0.14152197984434281</c:v>
                </c:pt>
                <c:pt idx="4">
                  <c:v>0.32430501393489058</c:v>
                </c:pt>
                <c:pt idx="5">
                  <c:v>7.999615168178828E-2</c:v>
                </c:pt>
                <c:pt idx="6">
                  <c:v>9.6445642492324651E-2</c:v>
                </c:pt>
                <c:pt idx="7">
                  <c:v>0.11128880451125545</c:v>
                </c:pt>
                <c:pt idx="8">
                  <c:v>0.17753774739433337</c:v>
                </c:pt>
                <c:pt idx="9">
                  <c:v>9.2913757652238228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5.6578369953938744E-2</c:v>
                </c:pt>
                <c:pt idx="1">
                  <c:v>3.9748049335277487E-2</c:v>
                </c:pt>
                <c:pt idx="2">
                  <c:v>3.6152583544337209E-2</c:v>
                </c:pt>
                <c:pt idx="3">
                  <c:v>2.5469849750860748E-2</c:v>
                </c:pt>
                <c:pt idx="4">
                  <c:v>6.4813880382745381E-2</c:v>
                </c:pt>
                <c:pt idx="5">
                  <c:v>8.5197700245182306E-2</c:v>
                </c:pt>
                <c:pt idx="6">
                  <c:v>0.17447621527054127</c:v>
                </c:pt>
                <c:pt idx="7">
                  <c:v>0.20259246306990594</c:v>
                </c:pt>
                <c:pt idx="8">
                  <c:v>0.20923515941614845</c:v>
                </c:pt>
                <c:pt idx="9">
                  <c:v>0.10072276476360653</c:v>
                </c:pt>
                <c:pt idx="10">
                  <c:v>5.0129642674558942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7.2895615689523123E-3</c:v>
                </c:pt>
                <c:pt idx="1">
                  <c:v>1.2191397881004248E-2</c:v>
                </c:pt>
                <c:pt idx="2">
                  <c:v>1.0974375492565613E-2</c:v>
                </c:pt>
                <c:pt idx="3">
                  <c:v>2.2957743157416563E-3</c:v>
                </c:pt>
                <c:pt idx="4">
                  <c:v>1.2578924651319585E-2</c:v>
                </c:pt>
                <c:pt idx="5">
                  <c:v>5.5726885091712086E-2</c:v>
                </c:pt>
                <c:pt idx="6">
                  <c:v>3.0004173992332232E-2</c:v>
                </c:pt>
                <c:pt idx="7">
                  <c:v>0.1044620805993903</c:v>
                </c:pt>
                <c:pt idx="8">
                  <c:v>8.336121691648106E-2</c:v>
                </c:pt>
                <c:pt idx="9">
                  <c:v>9.0957371374645851E-2</c:v>
                </c:pt>
                <c:pt idx="10">
                  <c:v>4.172937746034118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6.7037277176314197E-5</c:v>
                </c:pt>
                <c:pt idx="2">
                  <c:v>2.1039368592767134E-5</c:v>
                </c:pt>
                <c:pt idx="3">
                  <c:v>1.2804621056102856E-5</c:v>
                </c:pt>
                <c:pt idx="4">
                  <c:v>3.2882094847373367E-2</c:v>
                </c:pt>
                <c:pt idx="5">
                  <c:v>1.6265488739259478E-2</c:v>
                </c:pt>
                <c:pt idx="6">
                  <c:v>7.8624434563229401E-2</c:v>
                </c:pt>
                <c:pt idx="7">
                  <c:v>5.0416138591354513E-2</c:v>
                </c:pt>
                <c:pt idx="8">
                  <c:v>7.9057151473977558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3">
                  <c:v>5.2155196105875398E-3</c:v>
                </c:pt>
                <c:pt idx="4">
                  <c:v>1.9176191518417963E-3</c:v>
                </c:pt>
                <c:pt idx="5">
                  <c:v>2.2228582814683231E-5</c:v>
                </c:pt>
                <c:pt idx="6">
                  <c:v>2.1670370146516651E-2</c:v>
                </c:pt>
                <c:pt idx="7">
                  <c:v>3.1357634404897868E-3</c:v>
                </c:pt>
                <c:pt idx="8">
                  <c:v>3.4526980058321013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4.9221771107810119E-2</c:v>
                </c:pt>
                <c:pt idx="1">
                  <c:v>2.7556651454273242E-2</c:v>
                </c:pt>
                <c:pt idx="2">
                  <c:v>2.515716868317883E-2</c:v>
                </c:pt>
                <c:pt idx="3">
                  <c:v>1.7945751203475444E-2</c:v>
                </c:pt>
                <c:pt idx="4">
                  <c:v>1.743524173221063E-2</c:v>
                </c:pt>
                <c:pt idx="5">
                  <c:v>1.3183097831396064E-2</c:v>
                </c:pt>
                <c:pt idx="6">
                  <c:v>4.417723656846298E-2</c:v>
                </c:pt>
                <c:pt idx="7">
                  <c:v>4.457848043867136E-2</c:v>
                </c:pt>
                <c:pt idx="8">
                  <c:v>1.228981096736885E-2</c:v>
                </c:pt>
                <c:pt idx="9">
                  <c:v>9.7653933889606855E-3</c:v>
                </c:pt>
                <c:pt idx="10">
                  <c:v>8.4002652142177578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150705379299439E-2</c:v>
                </c:pt>
                <c:pt idx="1">
                  <c:v>9.0902853088647602E-3</c:v>
                </c:pt>
                <c:pt idx="2">
                  <c:v>1.6253323699152004E-2</c:v>
                </c:pt>
                <c:pt idx="3">
                  <c:v>1.2374473445219698E-2</c:v>
                </c:pt>
                <c:pt idx="4">
                  <c:v>5.2044058253641882E-2</c:v>
                </c:pt>
                <c:pt idx="5">
                  <c:v>9.1526042103984434E-2</c:v>
                </c:pt>
                <c:pt idx="6">
                  <c:v>0.20203294286153259</c:v>
                </c:pt>
                <c:pt idx="7">
                  <c:v>0.15911147347283777</c:v>
                </c:pt>
                <c:pt idx="8">
                  <c:v>0.36684529217071971</c:v>
                </c:pt>
                <c:pt idx="9">
                  <c:v>7.9215054891052752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oignon</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3">
                  <c:v>2.0899562649838795E-3</c:v>
                </c:pt>
                <c:pt idx="4">
                  <c:v>4.2185404740382765E-2</c:v>
                </c:pt>
                <c:pt idx="5">
                  <c:v>1.4575780542626026E-3</c:v>
                </c:pt>
                <c:pt idx="6">
                  <c:v>0.12407181931779919</c:v>
                </c:pt>
                <c:pt idx="7">
                  <c:v>2.5947318948741912E-2</c:v>
                </c:pt>
                <c:pt idx="8">
                  <c:v>0.13866626099566751</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1">
                  <c:v>1.2371282471877402E-3</c:v>
                </c:pt>
                <c:pt idx="2">
                  <c:v>1.3954287994129417E-2</c:v>
                </c:pt>
                <c:pt idx="3">
                  <c:v>5.5065899910778969E-3</c:v>
                </c:pt>
                <c:pt idx="4">
                  <c:v>5.8299284924079823E-3</c:v>
                </c:pt>
                <c:pt idx="5">
                  <c:v>7.9707656351761191E-2</c:v>
                </c:pt>
                <c:pt idx="6">
                  <c:v>2.6179522847495355E-2</c:v>
                </c:pt>
                <c:pt idx="7">
                  <c:v>8.0365178624578398E-2</c:v>
                </c:pt>
                <c:pt idx="8">
                  <c:v>0.12693046692371843</c:v>
                </c:pt>
                <c:pt idx="9">
                  <c:v>7.9215054891052752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2">
                  <c:v>1.4137223668398494E-7</c:v>
                </c:pt>
                <c:pt idx="3">
                  <c:v>2.2215637193197631E-7</c:v>
                </c:pt>
                <c:pt idx="4">
                  <c:v>1.3127421977798601E-7</c:v>
                </c:pt>
                <c:pt idx="6">
                  <c:v>2.4006328629155329E-2</c:v>
                </c:pt>
                <c:pt idx="7">
                  <c:v>1.0861124043585262E-3</c:v>
                </c:pt>
                <c:pt idx="8">
                  <c:v>7.850165019267774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1.150705379299439E-2</c:v>
                </c:pt>
                <c:pt idx="1">
                  <c:v>7.8531570616770206E-3</c:v>
                </c:pt>
                <c:pt idx="2">
                  <c:v>2.2988943327859031E-3</c:v>
                </c:pt>
                <c:pt idx="3">
                  <c:v>4.7777050327859885E-3</c:v>
                </c:pt>
                <c:pt idx="4">
                  <c:v>4.0285937466313648E-3</c:v>
                </c:pt>
                <c:pt idx="5">
                  <c:v>1.0360807697960639E-2</c:v>
                </c:pt>
                <c:pt idx="6">
                  <c:v>2.7775272067082742E-2</c:v>
                </c:pt>
                <c:pt idx="7">
                  <c:v>5.1712863495158932E-2</c:v>
                </c:pt>
                <c:pt idx="8">
                  <c:v>2.2746914058656045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4.1229236969787683E-2</c:v>
                </c:pt>
                <c:pt idx="1">
                  <c:v>3.4208146091019583E-2</c:v>
                </c:pt>
                <c:pt idx="2">
                  <c:v>4.638899137720838E-2</c:v>
                </c:pt>
                <c:pt idx="3">
                  <c:v>4.236303860922852E-2</c:v>
                </c:pt>
                <c:pt idx="4">
                  <c:v>7.3599001227352384E-2</c:v>
                </c:pt>
                <c:pt idx="5">
                  <c:v>0.21666215265832334</c:v>
                </c:pt>
                <c:pt idx="6">
                  <c:v>0.35850197330543981</c:v>
                </c:pt>
                <c:pt idx="7">
                  <c:v>0.11680761238296965</c:v>
                </c:pt>
                <c:pt idx="8">
                  <c:v>4.7250813869102577E-2</c:v>
                </c:pt>
                <c:pt idx="9">
                  <c:v>2.2988851810587341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1.2067234970202518E-4</c:v>
                </c:pt>
                <c:pt idx="1">
                  <c:v>2.8405607312913979E-6</c:v>
                </c:pt>
                <c:pt idx="2">
                  <c:v>2.000832835447843E-3</c:v>
                </c:pt>
                <c:pt idx="3">
                  <c:v>2.0922698191585174E-3</c:v>
                </c:pt>
                <c:pt idx="4">
                  <c:v>1.9837289047332017E-3</c:v>
                </c:pt>
                <c:pt idx="5">
                  <c:v>1.335072022992722E-2</c:v>
                </c:pt>
                <c:pt idx="6">
                  <c:v>0.20974885772815974</c:v>
                </c:pt>
                <c:pt idx="7">
                  <c:v>0.10680264267358276</c:v>
                </c:pt>
                <c:pt idx="8">
                  <c:v>5.3849702939730822E-3</c:v>
                </c:pt>
                <c:pt idx="9">
                  <c:v>1.2408671581430282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tara</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5.6932347279614364E-7</c:v>
                </c:pt>
                <c:pt idx="1">
                  <c:v>2.3792966706217691E-2</c:v>
                </c:pt>
                <c:pt idx="2">
                  <c:v>3.1812117972593569E-2</c:v>
                </c:pt>
                <c:pt idx="4">
                  <c:v>2.1253269203768297E-3</c:v>
                </c:pt>
                <c:pt idx="5">
                  <c:v>0.1233043866264559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u Pera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1.1224575664137333E-3</c:v>
                </c:pt>
                <c:pt idx="2">
                  <c:v>2.8526376568739032E-3</c:v>
                </c:pt>
                <c:pt idx="3">
                  <c:v>5.1450610165164013E-3</c:v>
                </c:pt>
                <c:pt idx="4">
                  <c:v>5.7721799067503875E-2</c:v>
                </c:pt>
                <c:pt idx="5">
                  <c:v>1.2534031764833841E-2</c:v>
                </c:pt>
                <c:pt idx="6">
                  <c:v>8.6587668068377394E-2</c:v>
                </c:pt>
                <c:pt idx="8">
                  <c:v>1.842608151745492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3.9985537730199132E-2</c:v>
                </c:pt>
                <c:pt idx="1">
                  <c:v>1.0412338824070604E-2</c:v>
                </c:pt>
                <c:pt idx="2">
                  <c:v>9.7234029122930648E-3</c:v>
                </c:pt>
                <c:pt idx="3">
                  <c:v>3.5125707773553602E-2</c:v>
                </c:pt>
                <c:pt idx="4">
                  <c:v>1.1768146334738484E-2</c:v>
                </c:pt>
                <c:pt idx="5">
                  <c:v>6.7473014037106302E-2</c:v>
                </c:pt>
                <c:pt idx="6">
                  <c:v>6.2165447508902738E-2</c:v>
                </c:pt>
                <c:pt idx="7">
                  <c:v>1.0004969709386895E-2</c:v>
                </c:pt>
                <c:pt idx="8">
                  <c:v>2.3439762057674576E-2</c:v>
                </c:pt>
                <c:pt idx="9">
                  <c:v>1.0580180229157059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5.3220514636903894E-2</c:v>
                </c:pt>
                <c:pt idx="1">
                  <c:v>1.2441037528871992E-2</c:v>
                </c:pt>
                <c:pt idx="2">
                  <c:v>8.7624574801509106E-2</c:v>
                </c:pt>
                <c:pt idx="3">
                  <c:v>3.0282854374379737E-2</c:v>
                </c:pt>
                <c:pt idx="4">
                  <c:v>0.14027776593737548</c:v>
                </c:pt>
                <c:pt idx="5">
                  <c:v>0.28950622024873895</c:v>
                </c:pt>
                <c:pt idx="6">
                  <c:v>0.21798642705429877</c:v>
                </c:pt>
                <c:pt idx="7">
                  <c:v>5.6581598744397013E-2</c:v>
                </c:pt>
                <c:pt idx="8">
                  <c:v>9.882715982471646E-2</c:v>
                </c:pt>
                <c:pt idx="9">
                  <c:v>1.3251846848808615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7.6306696888571608E-4</c:v>
                </c:pt>
                <c:pt idx="1">
                  <c:v>1.1067148522188636E-3</c:v>
                </c:pt>
                <c:pt idx="2">
                  <c:v>3.1917241394296705E-2</c:v>
                </c:pt>
                <c:pt idx="3">
                  <c:v>0.13974770750722393</c:v>
                </c:pt>
                <c:pt idx="4">
                  <c:v>0.31695016280460753</c:v>
                </c:pt>
                <c:pt idx="5">
                  <c:v>1.0432005279822222E-2</c:v>
                </c:pt>
                <c:pt idx="6">
                  <c:v>4.9663120821023532E-3</c:v>
                </c:pt>
                <c:pt idx="7">
                  <c:v>3.5720986788880867E-2</c:v>
                </c:pt>
                <c:pt idx="8">
                  <c:v>6.5527654846109049E-2</c:v>
                </c:pt>
                <c:pt idx="9">
                  <c:v>4.3644367694232649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5">
                  <c:v>8.0194853834143125E-7</c:v>
                </c:pt>
                <c:pt idx="6">
                  <c:v>2.8578858975719765E-3</c:v>
                </c:pt>
                <c:pt idx="7">
                  <c:v>3.9156353241981738E-2</c:v>
                </c:pt>
                <c:pt idx="8">
                  <c:v>0.1058370807396873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4">
                  <c:v>2.6462490913729043E-3</c:v>
                </c:pt>
                <c:pt idx="5">
                  <c:v>6.3878383003740671E-2</c:v>
                </c:pt>
                <c:pt idx="6">
                  <c:v>2.866358095839938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4466777302797171E-2</c:v>
                </c:pt>
                <c:pt idx="1">
                  <c:v>1.5234435297718351E-4</c:v>
                </c:pt>
                <c:pt idx="2">
                  <c:v>8.143140674165023E-4</c:v>
                </c:pt>
                <c:pt idx="3">
                  <c:v>1.7742723371188839E-3</c:v>
                </c:pt>
                <c:pt idx="4">
                  <c:v>4.7086020389101807E-3</c:v>
                </c:pt>
                <c:pt idx="5">
                  <c:v>5.6849614496870295E-3</c:v>
                </c:pt>
                <c:pt idx="6">
                  <c:v>5.9957863554250923E-2</c:v>
                </c:pt>
                <c:pt idx="7">
                  <c:v>3.6411464480392841E-2</c:v>
                </c:pt>
                <c:pt idx="8">
                  <c:v>6.1730118085370107E-3</c:v>
                </c:pt>
                <c:pt idx="9">
                  <c:v>4.926938995800558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1.3375518511576435E-3</c:v>
                </c:pt>
                <c:pt idx="1">
                  <c:v>2.1602037164684789E-5</c:v>
                </c:pt>
                <c:pt idx="2">
                  <c:v>9.2131917006053315E-3</c:v>
                </c:pt>
                <c:pt idx="3">
                  <c:v>3.275023134431676E-5</c:v>
                </c:pt>
                <c:pt idx="4">
                  <c:v>1.4103430013893581E-3</c:v>
                </c:pt>
                <c:pt idx="5">
                  <c:v>4.3140155444401931E-2</c:v>
                </c:pt>
                <c:pt idx="6">
                  <c:v>0.11246984924594039</c:v>
                </c:pt>
                <c:pt idx="7">
                  <c:v>4.5377856469198716E-2</c:v>
                </c:pt>
                <c:pt idx="8">
                  <c:v>1.7636134591646855E-3</c:v>
                </c:pt>
                <c:pt idx="9">
                  <c:v>6.1438893951009125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tara</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7.1180255460291005E-3</c:v>
                </c:pt>
                <c:pt idx="2">
                  <c:v>5.0127102914921035E-2</c:v>
                </c:pt>
                <c:pt idx="3">
                  <c:v>1.7280858230420521E-3</c:v>
                </c:pt>
                <c:pt idx="4">
                  <c:v>2.6365247784431421E-2</c:v>
                </c:pt>
                <c:pt idx="5">
                  <c:v>0.10079556831121561</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u Pera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1">
                  <c:v>2.1212428994393153E-4</c:v>
                </c:pt>
                <c:pt idx="2">
                  <c:v>9.317537255124032E-3</c:v>
                </c:pt>
                <c:pt idx="3">
                  <c:v>2.6069029849810682E-4</c:v>
                </c:pt>
                <c:pt idx="4">
                  <c:v>6.6651696969245763E-2</c:v>
                </c:pt>
                <c:pt idx="5">
                  <c:v>2.5915848261273244E-2</c:v>
                </c:pt>
                <c:pt idx="6">
                  <c:v>7.5755991257501265E-2</c:v>
                </c:pt>
                <c:pt idx="8">
                  <c:v>2.0739305805420192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4.4764937239717154E-2</c:v>
                </c:pt>
                <c:pt idx="1">
                  <c:v>1.2207311201763375E-2</c:v>
                </c:pt>
                <c:pt idx="2">
                  <c:v>1.8966742930858708E-2</c:v>
                </c:pt>
                <c:pt idx="3">
                  <c:v>2.8261328021495263E-2</c:v>
                </c:pt>
                <c:pt idx="4">
                  <c:v>4.5850478182308925E-2</c:v>
                </c:pt>
                <c:pt idx="5">
                  <c:v>0.11965464823184818</c:v>
                </c:pt>
                <c:pt idx="6">
                  <c:v>2.9760586550857119E-2</c:v>
                </c:pt>
                <c:pt idx="7">
                  <c:v>1.1203742275198304E-2</c:v>
                </c:pt>
                <c:pt idx="8">
                  <c:v>7.6324240560131568E-2</c:v>
                </c:pt>
                <c:pt idx="9">
                  <c:v>7.1079574537077023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1847693416567174E-2</c:v>
                </c:pt>
                <c:pt idx="1">
                  <c:v>8.6420771688770298E-2</c:v>
                </c:pt>
                <c:pt idx="2">
                  <c:v>1.497950272481768E-2</c:v>
                </c:pt>
                <c:pt idx="3">
                  <c:v>3.8435745481682639E-2</c:v>
                </c:pt>
                <c:pt idx="4">
                  <c:v>9.2213614362690738E-2</c:v>
                </c:pt>
                <c:pt idx="5">
                  <c:v>0.23543198442819935</c:v>
                </c:pt>
                <c:pt idx="6">
                  <c:v>0.18117729862300258</c:v>
                </c:pt>
                <c:pt idx="7">
                  <c:v>0.20368518910803779</c:v>
                </c:pt>
                <c:pt idx="8">
                  <c:v>9.7217979514334779E-2</c:v>
                </c:pt>
                <c:pt idx="9">
                  <c:v>2.8590220651896904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2">
                  <c:v>4.2428664933548254E-3</c:v>
                </c:pt>
                <c:pt idx="3">
                  <c:v>9.8194024376712114E-3</c:v>
                </c:pt>
                <c:pt idx="4">
                  <c:v>1.1778201192094651E-2</c:v>
                </c:pt>
                <c:pt idx="5">
                  <c:v>2.2363432229188829E-6</c:v>
                </c:pt>
                <c:pt idx="6">
                  <c:v>1.1011135466633473E-2</c:v>
                </c:pt>
                <c:pt idx="7">
                  <c:v>0.19000214688949399</c:v>
                </c:pt>
                <c:pt idx="8">
                  <c:v>4.5250168772540678E-2</c:v>
                </c:pt>
                <c:pt idx="9">
                  <c:v>1.8204166906954609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tara</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3.0456139789913159E-3</c:v>
                </c:pt>
                <c:pt idx="1">
                  <c:v>7.5389509133130556E-2</c:v>
                </c:pt>
                <c:pt idx="2">
                  <c:v>7.0250202079780166E-3</c:v>
                </c:pt>
                <c:pt idx="4">
                  <c:v>2.5381543944715312E-2</c:v>
                </c:pt>
                <c:pt idx="5">
                  <c:v>0.1567708003234799</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u Pera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3">
                  <c:v>5.3686511881263308E-3</c:v>
                </c:pt>
                <c:pt idx="4">
                  <c:v>3.5295110706602621E-2</c:v>
                </c:pt>
                <c:pt idx="6">
                  <c:v>0.12133356286779519</c:v>
                </c:pt>
                <c:pt idx="7">
                  <c:v>5.0100273823574029E-3</c:v>
                </c:pt>
                <c:pt idx="8">
                  <c:v>2.720587661513941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1.8802079437575857E-2</c:v>
                </c:pt>
                <c:pt idx="1">
                  <c:v>1.1031262555639744E-2</c:v>
                </c:pt>
                <c:pt idx="2">
                  <c:v>3.7116160234848396E-3</c:v>
                </c:pt>
                <c:pt idx="3">
                  <c:v>2.3247691855885096E-2</c:v>
                </c:pt>
                <c:pt idx="4">
                  <c:v>1.9758758519278136E-2</c:v>
                </c:pt>
                <c:pt idx="5">
                  <c:v>7.8658947761496567E-2</c:v>
                </c:pt>
                <c:pt idx="6">
                  <c:v>4.8832600288573919E-2</c:v>
                </c:pt>
                <c:pt idx="7">
                  <c:v>8.6730148361864323E-3</c:v>
                </c:pt>
                <c:pt idx="8">
                  <c:v>2.4761934126654679E-2</c:v>
                </c:pt>
                <c:pt idx="9">
                  <c:v>1.0386053744942296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3.0096130298614627E-3</c:v>
                </c:pt>
                <c:pt idx="3">
                  <c:v>0.26864620226306141</c:v>
                </c:pt>
                <c:pt idx="4">
                  <c:v>0.24445258049451576</c:v>
                </c:pt>
                <c:pt idx="5">
                  <c:v>9.7099623144768832E-2</c:v>
                </c:pt>
                <c:pt idx="6">
                  <c:v>2.9819821017562358E-2</c:v>
                </c:pt>
                <c:pt idx="7">
                  <c:v>0.16448722706132768</c:v>
                </c:pt>
                <c:pt idx="8">
                  <c:v>0.19228241457022868</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2">
                  <c:v>3.0064925207559088E-3</c:v>
                </c:pt>
                <c:pt idx="3">
                  <c:v>0.26852109344841774</c:v>
                </c:pt>
                <c:pt idx="4">
                  <c:v>0.24392545046056749</c:v>
                </c:pt>
                <c:pt idx="5">
                  <c:v>2.5698310281031214E-6</c:v>
                </c:pt>
                <c:pt idx="6">
                  <c:v>6.3813100070295365E-4</c:v>
                </c:pt>
                <c:pt idx="7">
                  <c:v>2.9943015570317748E-2</c:v>
                </c:pt>
                <c:pt idx="8">
                  <c:v>6.4196109784545111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4">
                  <c:v>2.5776978577809882E-5</c:v>
                </c:pt>
                <c:pt idx="6">
                  <c:v>8.9463160462635669E-3</c:v>
                </c:pt>
                <c:pt idx="7">
                  <c:v>6.4434317387190906E-3</c:v>
                </c:pt>
                <c:pt idx="8">
                  <c:v>0.10863323458102039</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5">
                  <c:v>9.709188742891893E-2</c:v>
                </c:pt>
                <c:pt idx="6">
                  <c:v>1.503311817291936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2">
                  <c:v>3.1205091055537905E-6</c:v>
                </c:pt>
                <c:pt idx="3">
                  <c:v>1.251088146436734E-4</c:v>
                </c:pt>
                <c:pt idx="4">
                  <c:v>5.0135305537044462E-4</c:v>
                </c:pt>
                <c:pt idx="5">
                  <c:v>5.1658848217991322E-6</c:v>
                </c:pt>
                <c:pt idx="6">
                  <c:v>5.2022557976764694E-3</c:v>
                </c:pt>
                <c:pt idx="7">
                  <c:v>0.12810077975229084</c:v>
                </c:pt>
                <c:pt idx="8">
                  <c:v>1.9453070204663178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0.18479999999999999</c:v>
                </c:pt>
                <c:pt idx="3">
                  <c:v>4.4400000000000002E-2</c:v>
                </c:pt>
                <c:pt idx="4">
                  <c:v>3.04E-2</c:v>
                </c:pt>
                <c:pt idx="5">
                  <c:v>0.1216</c:v>
                </c:pt>
                <c:pt idx="6">
                  <c:v>7.7700000000000005E-2</c:v>
                </c:pt>
                <c:pt idx="7">
                  <c:v>0.25459999999999999</c:v>
                </c:pt>
                <c:pt idx="8">
                  <c:v>0.2866000000000000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8452095700271858E-2</c:v>
                </c:pt>
                <c:pt idx="1">
                  <c:v>6.9038415366902443E-3</c:v>
                </c:pt>
                <c:pt idx="2">
                  <c:v>3.8993138108884502E-2</c:v>
                </c:pt>
                <c:pt idx="3">
                  <c:v>9.2885754275378318E-2</c:v>
                </c:pt>
                <c:pt idx="4">
                  <c:v>0.12661389106941554</c:v>
                </c:pt>
                <c:pt idx="5">
                  <c:v>0.14139828617238459</c:v>
                </c:pt>
                <c:pt idx="6">
                  <c:v>8.327672553420401E-2</c:v>
                </c:pt>
                <c:pt idx="7">
                  <c:v>0.25943750265456544</c:v>
                </c:pt>
                <c:pt idx="8">
                  <c:v>0.16769832304927204</c:v>
                </c:pt>
                <c:pt idx="9">
                  <c:v>5.0813195599909045E-2</c:v>
                </c:pt>
                <c:pt idx="10">
                  <c:v>3.5272462990244605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2">
                  <c:v>4.3257184948635877E-3</c:v>
                </c:pt>
                <c:pt idx="3">
                  <c:v>1.0390500489843798E-3</c:v>
                </c:pt>
                <c:pt idx="4">
                  <c:v>7.1165642706886526E-4</c:v>
                </c:pt>
                <c:pt idx="5">
                  <c:v>2.8464754002435724E-3</c:v>
                </c:pt>
                <c:pt idx="6">
                  <c:v>2.1754014985263929E-3</c:v>
                </c:pt>
                <c:pt idx="7">
                  <c:v>6.2302606315371087E-3</c:v>
                </c:pt>
                <c:pt idx="8">
                  <c:v>7.3358842734815265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4.0398617792554474E-4</c:v>
                </c:pt>
                <c:pt idx="1">
                  <c:v>1.5023688751668372E-3</c:v>
                </c:pt>
                <c:pt idx="2">
                  <c:v>3.6224347183356647E-3</c:v>
                </c:pt>
                <c:pt idx="3">
                  <c:v>5.4616108723709719E-3</c:v>
                </c:pt>
                <c:pt idx="4">
                  <c:v>1.2016856337763338E-2</c:v>
                </c:pt>
                <c:pt idx="5">
                  <c:v>1.6731930957308794E-2</c:v>
                </c:pt>
                <c:pt idx="6">
                  <c:v>3.3011185583235098E-2</c:v>
                </c:pt>
                <c:pt idx="7">
                  <c:v>5.9070991134438602E-2</c:v>
                </c:pt>
                <c:pt idx="8">
                  <c:v>0.11395084842790201</c:v>
                </c:pt>
                <c:pt idx="9">
                  <c:v>7.0066503966677421E-2</c:v>
                </c:pt>
                <c:pt idx="10">
                  <c:v>6.4885784713214989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3.3378675212778537E-5</c:v>
                </c:pt>
                <c:pt idx="1">
                  <c:v>1.6486775555425614E-4</c:v>
                </c:pt>
                <c:pt idx="2">
                  <c:v>4.2300239536368755E-4</c:v>
                </c:pt>
                <c:pt idx="3">
                  <c:v>3.4460464203486509E-4</c:v>
                </c:pt>
                <c:pt idx="4">
                  <c:v>6.4430406267969634E-4</c:v>
                </c:pt>
                <c:pt idx="5">
                  <c:v>2.331756587641242E-2</c:v>
                </c:pt>
                <c:pt idx="6">
                  <c:v>1.0331067707705442E-2</c:v>
                </c:pt>
                <c:pt idx="7">
                  <c:v>3.5510508395162868E-3</c:v>
                </c:pt>
                <c:pt idx="8">
                  <c:v>1.4281102748302898E-3</c:v>
                </c:pt>
                <c:pt idx="10">
                  <c:v>9.7770979145132382E-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oign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6.2043767736519298E-5</c:v>
                </c:pt>
                <c:pt idx="2">
                  <c:v>1.3890327595725109E-4</c:v>
                </c:pt>
                <c:pt idx="3">
                  <c:v>4.5028083732790472E-8</c:v>
                </c:pt>
                <c:pt idx="4">
                  <c:v>5.6800483247226828E-3</c:v>
                </c:pt>
                <c:pt idx="5">
                  <c:v>6.8682837053749736E-5</c:v>
                </c:pt>
                <c:pt idx="6">
                  <c:v>1.348149854018438E-2</c:v>
                </c:pt>
                <c:pt idx="7">
                  <c:v>3.9143745136366584E-3</c:v>
                </c:pt>
                <c:pt idx="8">
                  <c:v>1.976473814294425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1.8298393021280331E-2</c:v>
                </c:pt>
                <c:pt idx="1">
                  <c:v>1.3832086985708439E-2</c:v>
                </c:pt>
                <c:pt idx="2">
                  <c:v>1.1818170132711846E-2</c:v>
                </c:pt>
                <c:pt idx="3">
                  <c:v>3.7418479098783472E-2</c:v>
                </c:pt>
                <c:pt idx="4">
                  <c:v>4.6041642740315379E-2</c:v>
                </c:pt>
                <c:pt idx="5">
                  <c:v>5.9083613578406136E-2</c:v>
                </c:pt>
                <c:pt idx="6">
                  <c:v>6.7384103613294957E-2</c:v>
                </c:pt>
                <c:pt idx="7">
                  <c:v>0.10328910926820475</c:v>
                </c:pt>
                <c:pt idx="8">
                  <c:v>0.11224744909987677</c:v>
                </c:pt>
                <c:pt idx="9">
                  <c:v>2.8897709962918267E-2</c:v>
                </c:pt>
                <c:pt idx="10">
                  <c:v>1.2942230201911485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2">
                  <c:v>3.7256199349716392E-2</c:v>
                </c:pt>
                <c:pt idx="3">
                  <c:v>8.9490464544238445E-3</c:v>
                </c:pt>
                <c:pt idx="4">
                  <c:v>6.129297074432178E-3</c:v>
                </c:pt>
                <c:pt idx="5">
                  <c:v>2.4515893736835173E-2</c:v>
                </c:pt>
                <c:pt idx="6">
                  <c:v>1.5661540441294683E-2</c:v>
                </c:pt>
                <c:pt idx="7">
                  <c:v>5.1338440136598447E-2</c:v>
                </c:pt>
                <c:pt idx="8">
                  <c:v>5.7788673815089106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Mini Baby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2.8448348675945187E-2</c:v>
                </c:pt>
                <c:pt idx="1">
                  <c:v>6.9038415366902443E-3</c:v>
                </c:pt>
                <c:pt idx="2">
                  <c:v>1.7361982186284391E-3</c:v>
                </c:pt>
                <c:pt idx="3">
                  <c:v>1.8755435712991535E-3</c:v>
                </c:pt>
                <c:pt idx="4">
                  <c:v>0.10477416679766324</c:v>
                </c:pt>
                <c:pt idx="5">
                  <c:v>5.0671865007636957E-3</c:v>
                </c:pt>
                <c:pt idx="6">
                  <c:v>2.6783593228682716E-2</c:v>
                </c:pt>
                <c:pt idx="7">
                  <c:v>6.6655607066131453E-2</c:v>
                </c:pt>
                <c:pt idx="8">
                  <c:v>4.4421204234486155E-3</c:v>
                </c:pt>
                <c:pt idx="10">
                  <c:v>2.5859269363756062E-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La Vache Qui Ri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2">
                  <c:v>7.4054053967207621E-7</c:v>
                </c:pt>
                <c:pt idx="3">
                  <c:v>8.2060798596221757E-2</c:v>
                </c:pt>
                <c:pt idx="4">
                  <c:v>1.3735802625934962E-2</c:v>
                </c:pt>
                <c:pt idx="5">
                  <c:v>6.1588706809217263E-2</c:v>
                </c:pt>
                <c:pt idx="6">
                  <c:v>2.3195070431785789E-2</c:v>
                </c:pt>
                <c:pt idx="7">
                  <c:v>5.9000565638160689E-2</c:v>
                </c:pt>
                <c:pt idx="8">
                  <c:v>2.4630784631086092E-2</c:v>
                </c:pt>
                <c:pt idx="9">
                  <c:v>3.3171045320672899E-5</c:v>
                </c:pt>
                <c:pt idx="10">
                  <c:v>5.6986533599004805E-5</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4">
                  <c:v>1.9236787063778384E-3</c:v>
                </c:pt>
                <c:pt idx="5">
                  <c:v>9.3823032982912943E-3</c:v>
                </c:pt>
                <c:pt idx="6">
                  <c:v>5.4704191349204496E-3</c:v>
                </c:pt>
                <c:pt idx="7">
                  <c:v>6.9353981666997425E-2</c:v>
                </c:pt>
                <c:pt idx="8">
                  <c:v>4.7075678262511508E-2</c:v>
                </c:pt>
                <c:pt idx="9">
                  <c:v>4.8835529456781143E-2</c:v>
                </c:pt>
                <c:pt idx="10">
                  <c:v>3.2116670717878947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3.7470243266699317E-6</c:v>
                </c:pt>
                <c:pt idx="3">
                  <c:v>3.6565343355379327E-7</c:v>
                </c:pt>
                <c:pt idx="4">
                  <c:v>5.0945865007315628E-5</c:v>
                </c:pt>
                <c:pt idx="5">
                  <c:v>4.0844195827277142E-2</c:v>
                </c:pt>
                <c:pt idx="6">
                  <c:v>1.2166102297520376E-2</c:v>
                </c:pt>
                <c:pt idx="7">
                  <c:v>1.3088908146677429E-2</c:v>
                </c:pt>
                <c:pt idx="8">
                  <c:v>3.3761065917136714E-2</c:v>
                </c:pt>
                <c:pt idx="9">
                  <c:v>1.944495097807224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0.1381</c:v>
                </c:pt>
                <c:pt idx="3">
                  <c:v>0.16009999999999999</c:v>
                </c:pt>
                <c:pt idx="4">
                  <c:v>2.8400000000000002E-2</c:v>
                </c:pt>
                <c:pt idx="5">
                  <c:v>0.1139</c:v>
                </c:pt>
                <c:pt idx="6">
                  <c:v>7.6999999999999999E-2</c:v>
                </c:pt>
                <c:pt idx="7">
                  <c:v>0.24329999999999999</c:v>
                </c:pt>
                <c:pt idx="8">
                  <c:v>0.239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8613377585847987E-2</c:v>
                </c:pt>
                <c:pt idx="1">
                  <c:v>1.56302030123537E-2</c:v>
                </c:pt>
                <c:pt idx="2">
                  <c:v>3.5294981321742719E-2</c:v>
                </c:pt>
                <c:pt idx="3">
                  <c:v>0.17153808610810198</c:v>
                </c:pt>
                <c:pt idx="4">
                  <c:v>0.13353047605469773</c:v>
                </c:pt>
                <c:pt idx="5">
                  <c:v>0.12917153792881839</c:v>
                </c:pt>
                <c:pt idx="6">
                  <c:v>7.2507313656684891E-2</c:v>
                </c:pt>
                <c:pt idx="7">
                  <c:v>0.21110141717184974</c:v>
                </c:pt>
                <c:pt idx="8">
                  <c:v>0.1733531988133058</c:v>
                </c:pt>
                <c:pt idx="9">
                  <c:v>1.9940538619508948E-2</c:v>
                </c:pt>
                <c:pt idx="10">
                  <c:v>9.3188697270881003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4.9284107444051948E-7</c:v>
                </c:pt>
                <c:pt idx="1">
                  <c:v>1.3956839788943221E-5</c:v>
                </c:pt>
                <c:pt idx="2">
                  <c:v>3.0743646429186058E-2</c:v>
                </c:pt>
                <c:pt idx="3">
                  <c:v>3.564450001734381E-2</c:v>
                </c:pt>
                <c:pt idx="4">
                  <c:v>6.3327037131317649E-3</c:v>
                </c:pt>
                <c:pt idx="5">
                  <c:v>2.5358413952695731E-2</c:v>
                </c:pt>
                <c:pt idx="6">
                  <c:v>1.714739853104838E-2</c:v>
                </c:pt>
                <c:pt idx="7">
                  <c:v>5.4161420006419936E-2</c:v>
                </c:pt>
                <c:pt idx="8">
                  <c:v>5.3248888056162243E-2</c:v>
                </c:pt>
                <c:pt idx="9">
                  <c:v>3.4603735013908812E-7</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La Vache Qui Ri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2.0856614831110494E-5</c:v>
                </c:pt>
                <c:pt idx="1">
                  <c:v>5.0857004490138715E-6</c:v>
                </c:pt>
                <c:pt idx="2">
                  <c:v>3.5264351773265254E-5</c:v>
                </c:pt>
                <c:pt idx="3">
                  <c:v>0.13356059179014013</c:v>
                </c:pt>
                <c:pt idx="4">
                  <c:v>3.2745011116607166E-2</c:v>
                </c:pt>
                <c:pt idx="5">
                  <c:v>4.5656346239016515E-2</c:v>
                </c:pt>
                <c:pt idx="6">
                  <c:v>2.2933793156152984E-2</c:v>
                </c:pt>
                <c:pt idx="7">
                  <c:v>5.3053670560782258E-2</c:v>
                </c:pt>
                <c:pt idx="8">
                  <c:v>1.6505258068993306E-2</c:v>
                </c:pt>
                <c:pt idx="9">
                  <c:v>1.4804683726685523E-2</c:v>
                </c:pt>
                <c:pt idx="10">
                  <c:v>1.6951635764692421E-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Mini Baby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2.8591776466415062E-2</c:v>
                </c:pt>
                <c:pt idx="1">
                  <c:v>1.5611160472115745E-2</c:v>
                </c:pt>
                <c:pt idx="2">
                  <c:v>4.5091497937806138E-3</c:v>
                </c:pt>
                <c:pt idx="3">
                  <c:v>2.2503123458954121E-3</c:v>
                </c:pt>
                <c:pt idx="4">
                  <c:v>9.2942297705621374E-2</c:v>
                </c:pt>
                <c:pt idx="5">
                  <c:v>5.9604618982048718E-3</c:v>
                </c:pt>
                <c:pt idx="6">
                  <c:v>3.4556862681935428E-3</c:v>
                </c:pt>
                <c:pt idx="7">
                  <c:v>3.8628411545534092E-2</c:v>
                </c:pt>
                <c:pt idx="8">
                  <c:v>4.4743153671999457E-2</c:v>
                </c:pt>
                <c:pt idx="10">
                  <c:v>4.3540936029773809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4">
                  <c:v>4.1209902607473226E-6</c:v>
                </c:pt>
                <c:pt idx="5">
                  <c:v>2.1621063767469275E-2</c:v>
                </c:pt>
                <c:pt idx="6">
                  <c:v>8.9742060403692619E-3</c:v>
                </c:pt>
                <c:pt idx="7">
                  <c:v>3.1776012162394951E-2</c:v>
                </c:pt>
                <c:pt idx="8">
                  <c:v>3.6309541860389913E-2</c:v>
                </c:pt>
                <c:pt idx="9">
                  <c:v>5.1323840333417263E-3</c:v>
                </c:pt>
                <c:pt idx="10">
                  <c:v>8.713944009143439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516635273738823E-7</c:v>
                </c:pt>
                <c:pt idx="2">
                  <c:v>6.9207470027817628E-6</c:v>
                </c:pt>
                <c:pt idx="3">
                  <c:v>8.2681954722627565E-5</c:v>
                </c:pt>
                <c:pt idx="4">
                  <c:v>1.5063425290766795E-3</c:v>
                </c:pt>
                <c:pt idx="5">
                  <c:v>3.0575252071432007E-2</c:v>
                </c:pt>
                <c:pt idx="6">
                  <c:v>1.9996229660920725E-2</c:v>
                </c:pt>
                <c:pt idx="7">
                  <c:v>3.3481902896718506E-2</c:v>
                </c:pt>
                <c:pt idx="8">
                  <c:v>2.254635715576089E-2</c:v>
                </c:pt>
                <c:pt idx="9">
                  <c:v>3.1248221315590384E-6</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3.5000000000000001E-3</c:v>
                </c:pt>
                <c:pt idx="1">
                  <c:v>8.0600000000000005E-2</c:v>
                </c:pt>
                <c:pt idx="2">
                  <c:v>0.14369999999999999</c:v>
                </c:pt>
                <c:pt idx="4">
                  <c:v>8.9999999999999998E-4</c:v>
                </c:pt>
                <c:pt idx="5">
                  <c:v>0.1731</c:v>
                </c:pt>
                <c:pt idx="6">
                  <c:v>0.13220000000000001</c:v>
                </c:pt>
                <c:pt idx="7">
                  <c:v>0.20599999999999999</c:v>
                </c:pt>
                <c:pt idx="8">
                  <c:v>0.26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9437627523840919E-2</c:v>
                </c:pt>
                <c:pt idx="1">
                  <c:v>1.7339094554510329E-2</c:v>
                </c:pt>
                <c:pt idx="2">
                  <c:v>4.8088716519655232E-2</c:v>
                </c:pt>
                <c:pt idx="3">
                  <c:v>0.20562364600569663</c:v>
                </c:pt>
                <c:pt idx="4">
                  <c:v>6.6748547419724566E-2</c:v>
                </c:pt>
                <c:pt idx="5">
                  <c:v>0.12200576981432011</c:v>
                </c:pt>
                <c:pt idx="6">
                  <c:v>4.6184937163428488E-2</c:v>
                </c:pt>
                <c:pt idx="7">
                  <c:v>0.2232454479683828</c:v>
                </c:pt>
                <c:pt idx="8">
                  <c:v>0.15135974545254935</c:v>
                </c:pt>
                <c:pt idx="9">
                  <c:v>8.9599780134545004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7.4718342014114258E-4</c:v>
                </c:pt>
                <c:pt idx="1">
                  <c:v>1.7339094554510329E-2</c:v>
                </c:pt>
                <c:pt idx="2">
                  <c:v>3.0917818303169083E-2</c:v>
                </c:pt>
                <c:pt idx="4">
                  <c:v>1.9132431895118571E-4</c:v>
                </c:pt>
                <c:pt idx="5">
                  <c:v>3.7265307107165531E-2</c:v>
                </c:pt>
                <c:pt idx="6">
                  <c:v>2.8448033461384293E-2</c:v>
                </c:pt>
                <c:pt idx="7">
                  <c:v>4.4328122572103452E-2</c:v>
                </c:pt>
                <c:pt idx="8">
                  <c:v>5.5989035289387354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Mini Baby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2.4747136481628206E-2</c:v>
                </c:pt>
                <c:pt idx="2">
                  <c:v>1.3625819773384115E-3</c:v>
                </c:pt>
                <c:pt idx="3">
                  <c:v>0.12608331685803781</c:v>
                </c:pt>
                <c:pt idx="4">
                  <c:v>1.1732619958943502E-2</c:v>
                </c:pt>
                <c:pt idx="5">
                  <c:v>6.2114905007134369E-3</c:v>
                </c:pt>
                <c:pt idx="6">
                  <c:v>2.029408133441467E-3</c:v>
                </c:pt>
                <c:pt idx="7">
                  <c:v>3.6855776457379794E-2</c:v>
                </c:pt>
                <c:pt idx="8">
                  <c:v>4.4124971743041461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La Vache Qui Ri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3.9433076220715705E-3</c:v>
                </c:pt>
                <c:pt idx="2">
                  <c:v>1.5808316239147732E-2</c:v>
                </c:pt>
                <c:pt idx="3">
                  <c:v>7.9539672848540577E-2</c:v>
                </c:pt>
                <c:pt idx="4">
                  <c:v>4.6158947718345923E-2</c:v>
                </c:pt>
                <c:pt idx="5">
                  <c:v>3.5006207408320195E-2</c:v>
                </c:pt>
                <c:pt idx="6">
                  <c:v>1.0506928851688921E-2</c:v>
                </c:pt>
                <c:pt idx="7">
                  <c:v>9.1024631772222628E-2</c:v>
                </c:pt>
                <c:pt idx="8">
                  <c:v>1.4093734792729056E-2</c:v>
                </c:pt>
                <c:pt idx="9">
                  <c:v>1.3257242188576946E-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5">
                  <c:v>1.4569840425069714E-6</c:v>
                </c:pt>
                <c:pt idx="6">
                  <c:v>5.9329440289473069E-6</c:v>
                </c:pt>
                <c:pt idx="7">
                  <c:v>4.9444538616075701E-2</c:v>
                </c:pt>
                <c:pt idx="8">
                  <c:v>8.8206601492313936E-6</c:v>
                </c:pt>
                <c:pt idx="9">
                  <c:v>8.9598454410326142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3">
                  <c:v>6.5629911824638341E-7</c:v>
                </c:pt>
                <c:pt idx="4">
                  <c:v>8.6656554234839627E-3</c:v>
                </c:pt>
                <c:pt idx="5">
                  <c:v>4.3521307814078439E-2</c:v>
                </c:pt>
                <c:pt idx="6">
                  <c:v>5.1946337728848548E-3</c:v>
                </c:pt>
                <c:pt idx="7">
                  <c:v>1.5923785506012002E-3</c:v>
                </c:pt>
                <c:pt idx="8">
                  <c:v>3.7143182967242248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6">
                  <c:v>0.28499999999999998</c:v>
                </c:pt>
                <c:pt idx="7">
                  <c:v>0.21510000000000001</c:v>
                </c:pt>
                <c:pt idx="8">
                  <c:v>0.49990000000000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1.4769469987927959E-2</c:v>
                </c:pt>
                <c:pt idx="2">
                  <c:v>2.3174585769354574E-3</c:v>
                </c:pt>
                <c:pt idx="3">
                  <c:v>5.4889164840494477E-2</c:v>
                </c:pt>
                <c:pt idx="4">
                  <c:v>2.1417116059667604E-2</c:v>
                </c:pt>
                <c:pt idx="5">
                  <c:v>5.4954785824171536E-2</c:v>
                </c:pt>
                <c:pt idx="6">
                  <c:v>0.14927955263464021</c:v>
                </c:pt>
                <c:pt idx="7">
                  <c:v>0.13229106377391031</c:v>
                </c:pt>
                <c:pt idx="8">
                  <c:v>0.31299472077907142</c:v>
                </c:pt>
                <c:pt idx="9">
                  <c:v>0.14351243301228028</c:v>
                </c:pt>
                <c:pt idx="10">
                  <c:v>0.1132490185854586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6">
                  <c:v>2.4908400446714014E-3</c:v>
                </c:pt>
                <c:pt idx="7">
                  <c:v>1.8803708507033347E-3</c:v>
                </c:pt>
                <c:pt idx="8">
                  <c:v>4.3692749259969721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6">
                  <c:v>6.7580397135302726E-3</c:v>
                </c:pt>
                <c:pt idx="7">
                  <c:v>7.6792604187640604E-4</c:v>
                </c:pt>
                <c:pt idx="8">
                  <c:v>2.2935276614910325E-2</c:v>
                </c:pt>
                <c:pt idx="9">
                  <c:v>7.3021828060718733E-2</c:v>
                </c:pt>
                <c:pt idx="10">
                  <c:v>0.10546364191010567</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t More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1">
                  <c:v>1.1985028367831106E-2</c:v>
                </c:pt>
                <c:pt idx="2">
                  <c:v>1.2722744909185247E-3</c:v>
                </c:pt>
                <c:pt idx="3">
                  <c:v>4.1117522494445613E-2</c:v>
                </c:pt>
                <c:pt idx="4">
                  <c:v>1.9643777086309891E-2</c:v>
                </c:pt>
                <c:pt idx="5">
                  <c:v>3.684323873362097E-2</c:v>
                </c:pt>
                <c:pt idx="6">
                  <c:v>5.2782584795062273E-2</c:v>
                </c:pt>
                <c:pt idx="7">
                  <c:v>1.9658859394885812E-2</c:v>
                </c:pt>
                <c:pt idx="8">
                  <c:v>9.8894938206385896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4">
                  <c:v>2.5624963455585768E-4</c:v>
                </c:pt>
                <c:pt idx="5">
                  <c:v>8.625546990269144E-3</c:v>
                </c:pt>
                <c:pt idx="6">
                  <c:v>1.1454780717940091E-2</c:v>
                </c:pt>
                <c:pt idx="7">
                  <c:v>2.2883222378001097E-2</c:v>
                </c:pt>
                <c:pt idx="8">
                  <c:v>5.329542368167689E-2</c:v>
                </c:pt>
                <c:pt idx="9">
                  <c:v>7.2519363217122216E-3</c:v>
                </c:pt>
                <c:pt idx="10">
                  <c:v>8.0130730057553258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1">
                  <c:v>2.7844416200968536E-3</c:v>
                </c:pt>
                <c:pt idx="2">
                  <c:v>1.0451840860169327E-3</c:v>
                </c:pt>
                <c:pt idx="3">
                  <c:v>1.3771642346048864E-2</c:v>
                </c:pt>
                <c:pt idx="4">
                  <c:v>1.5170893388018554E-3</c:v>
                </c:pt>
                <c:pt idx="5">
                  <c:v>9.4860001002814182E-3</c:v>
                </c:pt>
                <c:pt idx="6">
                  <c:v>7.5793307363436188E-2</c:v>
                </c:pt>
                <c:pt idx="7">
                  <c:v>8.7100685108443654E-2</c:v>
                </c:pt>
                <c:pt idx="8">
                  <c:v>0.13349980735010133</c:v>
                </c:pt>
                <c:pt idx="9">
                  <c:v>6.3238668629849323E-2</c:v>
                </c:pt>
                <c:pt idx="10">
                  <c:v>6.9840693747774329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0.1285</c:v>
                </c:pt>
                <c:pt idx="3">
                  <c:v>0.14899999999999999</c:v>
                </c:pt>
                <c:pt idx="4">
                  <c:v>2.6499999999999999E-2</c:v>
                </c:pt>
                <c:pt idx="5">
                  <c:v>0.106</c:v>
                </c:pt>
                <c:pt idx="6">
                  <c:v>9.4100000000000003E-2</c:v>
                </c:pt>
                <c:pt idx="7">
                  <c:v>0.25729999999999997</c:v>
                </c:pt>
                <c:pt idx="8">
                  <c:v>0.2384999999999999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6">
                  <c:v>0.32379999999999998</c:v>
                </c:pt>
                <c:pt idx="7">
                  <c:v>0.4461</c:v>
                </c:pt>
                <c:pt idx="8">
                  <c:v>0.23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0921024996954196E-3</c:v>
                </c:pt>
                <c:pt idx="1">
                  <c:v>2.2013794513369753E-2</c:v>
                </c:pt>
                <c:pt idx="2">
                  <c:v>6.0164729451450899E-3</c:v>
                </c:pt>
                <c:pt idx="3">
                  <c:v>5.9948371208162959E-2</c:v>
                </c:pt>
                <c:pt idx="4">
                  <c:v>2.3502461461467141E-2</c:v>
                </c:pt>
                <c:pt idx="5">
                  <c:v>7.9254515665220515E-2</c:v>
                </c:pt>
                <c:pt idx="6">
                  <c:v>0.10057809753875298</c:v>
                </c:pt>
                <c:pt idx="7">
                  <c:v>0.25267661121730906</c:v>
                </c:pt>
                <c:pt idx="8">
                  <c:v>0.2504997063205352</c:v>
                </c:pt>
                <c:pt idx="9">
                  <c:v>0.15719468225499186</c:v>
                </c:pt>
                <c:pt idx="10">
                  <c:v>4.7223184375350009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6">
                  <c:v>4.5806044136491907E-3</c:v>
                </c:pt>
                <c:pt idx="7">
                  <c:v>6.3101836833592551E-3</c:v>
                </c:pt>
                <c:pt idx="8">
                  <c:v>3.254666313604992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6">
                  <c:v>8.0028603535492416E-4</c:v>
                </c:pt>
                <c:pt idx="7">
                  <c:v>1.0742766677238561E-2</c:v>
                </c:pt>
                <c:pt idx="8">
                  <c:v>2.1433128089056962E-2</c:v>
                </c:pt>
                <c:pt idx="9">
                  <c:v>7.791538913009359E-2</c:v>
                </c:pt>
                <c:pt idx="10">
                  <c:v>3.9670115779002035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t More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2.4725635203864748E-4</c:v>
                </c:pt>
                <c:pt idx="1">
                  <c:v>1.4215372774110923E-2</c:v>
                </c:pt>
                <c:pt idx="2">
                  <c:v>4.8549256504206023E-3</c:v>
                </c:pt>
                <c:pt idx="3">
                  <c:v>4.262140340943385E-2</c:v>
                </c:pt>
                <c:pt idx="4">
                  <c:v>1.8334792981554462E-2</c:v>
                </c:pt>
                <c:pt idx="5">
                  <c:v>2.6101512439191687E-2</c:v>
                </c:pt>
                <c:pt idx="6">
                  <c:v>4.2468163801257251E-2</c:v>
                </c:pt>
                <c:pt idx="7">
                  <c:v>6.5960171015402719E-2</c:v>
                </c:pt>
                <c:pt idx="8">
                  <c:v>6.1802552596591551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Tartar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2">
                  <c:v>3.8421592720662911E-7</c:v>
                </c:pt>
                <c:pt idx="3">
                  <c:v>3.9207895083318342E-5</c:v>
                </c:pt>
                <c:pt idx="4">
                  <c:v>3.5994509643752759E-3</c:v>
                </c:pt>
                <c:pt idx="5">
                  <c:v>6.7906948442288109E-3</c:v>
                </c:pt>
                <c:pt idx="6">
                  <c:v>6.4855648512478995E-4</c:v>
                </c:pt>
                <c:pt idx="7">
                  <c:v>4.5601069406954228E-2</c:v>
                </c:pt>
                <c:pt idx="8">
                  <c:v>3.610527105383772E-2</c:v>
                </c:pt>
                <c:pt idx="9">
                  <c:v>1.5523163373035199E-2</c:v>
                </c:pt>
                <c:pt idx="10">
                  <c:v>3.7888426107257809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8.4484614765677202E-4</c:v>
                </c:pt>
                <c:pt idx="1">
                  <c:v>7.7984217392588302E-3</c:v>
                </c:pt>
                <c:pt idx="2">
                  <c:v>1.1611630787972808E-3</c:v>
                </c:pt>
                <c:pt idx="3">
                  <c:v>1.7287759903645793E-2</c:v>
                </c:pt>
                <c:pt idx="4">
                  <c:v>1.5682175155374016E-3</c:v>
                </c:pt>
                <c:pt idx="5">
                  <c:v>4.6362308381800013E-2</c:v>
                </c:pt>
                <c:pt idx="6">
                  <c:v>5.208048680336682E-2</c:v>
                </c:pt>
                <c:pt idx="7">
                  <c:v>0.12406242043435431</c:v>
                </c:pt>
                <c:pt idx="8">
                  <c:v>0.12790408826744395</c:v>
                </c:pt>
                <c:pt idx="9">
                  <c:v>6.375612975186308E-2</c:v>
                </c:pt>
                <c:pt idx="10">
                  <c:v>3.7642259856221936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5">
                  <c:v>1.84E-2</c:v>
                </c:pt>
                <c:pt idx="6">
                  <c:v>3.0800000000000001E-2</c:v>
                </c:pt>
                <c:pt idx="7">
                  <c:v>0.3725</c:v>
                </c:pt>
                <c:pt idx="8">
                  <c:v>0.57820000000000005</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4.4185496993801796E-3</c:v>
                </c:pt>
                <c:pt idx="2">
                  <c:v>5.8867511383563064E-3</c:v>
                </c:pt>
                <c:pt idx="3">
                  <c:v>7.5681685289260239E-2</c:v>
                </c:pt>
                <c:pt idx="4">
                  <c:v>2.5426936831280101E-2</c:v>
                </c:pt>
                <c:pt idx="5">
                  <c:v>9.4771840334443316E-2</c:v>
                </c:pt>
                <c:pt idx="6">
                  <c:v>0.12889598069765412</c:v>
                </c:pt>
                <c:pt idx="7">
                  <c:v>0.13425471229470909</c:v>
                </c:pt>
                <c:pt idx="8">
                  <c:v>0.32909591222530005</c:v>
                </c:pt>
                <c:pt idx="9">
                  <c:v>0.10836522028352405</c:v>
                </c:pt>
                <c:pt idx="10">
                  <c:v>9.2817697572310995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4">
                  <c:v>2.6312042361883014E-7</c:v>
                </c:pt>
                <c:pt idx="5">
                  <c:v>1.5578834041623694E-4</c:v>
                </c:pt>
                <c:pt idx="6">
                  <c:v>2.6057341791819983E-4</c:v>
                </c:pt>
                <c:pt idx="7">
                  <c:v>3.1474044080606668E-3</c:v>
                </c:pt>
                <c:pt idx="8">
                  <c:v>4.8850095863716423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1">
                  <c:v>4.4173814446993118E-3</c:v>
                </c:pt>
                <c:pt idx="2">
                  <c:v>5.2218879271393025E-3</c:v>
                </c:pt>
                <c:pt idx="3">
                  <c:v>6.777826345130282E-2</c:v>
                </c:pt>
                <c:pt idx="4">
                  <c:v>2.2669203245781977E-2</c:v>
                </c:pt>
                <c:pt idx="5">
                  <c:v>6.7392423662108167E-2</c:v>
                </c:pt>
                <c:pt idx="6">
                  <c:v>1.8633009621187736E-2</c:v>
                </c:pt>
                <c:pt idx="7">
                  <c:v>3.2488299639938642E-2</c:v>
                </c:pt>
                <c:pt idx="8">
                  <c:v>9.9426640599782373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8">
                  <c:v>2.4685547676057795E-2</c:v>
                </c:pt>
                <c:pt idx="9">
                  <c:v>4.175203301837152E-2</c:v>
                </c:pt>
                <c:pt idx="10">
                  <c:v>8.5975608799879435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4">
                  <c:v>1.8615243730184993E-4</c:v>
                </c:pt>
                <c:pt idx="5">
                  <c:v>1.896502549652692E-2</c:v>
                </c:pt>
                <c:pt idx="6">
                  <c:v>1.726077346311387E-2</c:v>
                </c:pt>
                <c:pt idx="7">
                  <c:v>1.6311361300978516E-2</c:v>
                </c:pt>
                <c:pt idx="8">
                  <c:v>8.2465150831309508E-2</c:v>
                </c:pt>
                <c:pt idx="9">
                  <c:v>1.140012387078055E-2</c:v>
                </c:pt>
                <c:pt idx="10">
                  <c:v>8.3803854922597388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1">
                  <c:v>1.1682546808676057E-6</c:v>
                </c:pt>
                <c:pt idx="2">
                  <c:v>6.6486321121700463E-4</c:v>
                </c:pt>
                <c:pt idx="3">
                  <c:v>7.9034218379574143E-3</c:v>
                </c:pt>
                <c:pt idx="4">
                  <c:v>2.5713180277726552E-3</c:v>
                </c:pt>
                <c:pt idx="5">
                  <c:v>8.2586028353920007E-3</c:v>
                </c:pt>
                <c:pt idx="6">
                  <c:v>9.2741624195434316E-2</c:v>
                </c:pt>
                <c:pt idx="7">
                  <c:v>8.2307646945731269E-2</c:v>
                </c:pt>
                <c:pt idx="8">
                  <c:v>0.11763356353177873</c:v>
                </c:pt>
                <c:pt idx="9">
                  <c:v>5.5213063394371972E-2</c:v>
                </c:pt>
                <c:pt idx="10">
                  <c:v>6.0040502232055811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6.4184151077648034E-3</c:v>
                </c:pt>
                <c:pt idx="1">
                  <c:v>1.2433173216472356E-2</c:v>
                </c:pt>
                <c:pt idx="2">
                  <c:v>1.6653419563341498E-2</c:v>
                </c:pt>
                <c:pt idx="3">
                  <c:v>4.528856379315839E-2</c:v>
                </c:pt>
                <c:pt idx="4">
                  <c:v>6.0469880502980883E-2</c:v>
                </c:pt>
                <c:pt idx="5">
                  <c:v>6.8046692315063287E-2</c:v>
                </c:pt>
                <c:pt idx="6">
                  <c:v>0.10564996279910281</c:v>
                </c:pt>
                <c:pt idx="7">
                  <c:v>0.20914003576282761</c:v>
                </c:pt>
                <c:pt idx="8">
                  <c:v>0.18189208301942128</c:v>
                </c:pt>
                <c:pt idx="9">
                  <c:v>5.0891551137366327E-2</c:v>
                </c:pt>
                <c:pt idx="10">
                  <c:v>0.24311622278250078</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6.0406870450386077E-4</c:v>
                </c:pt>
                <c:pt idx="1">
                  <c:v>5.648341745034556E-3</c:v>
                </c:pt>
                <c:pt idx="2">
                  <c:v>1.9483797523056189E-4</c:v>
                </c:pt>
                <c:pt idx="3">
                  <c:v>2.2247713587432619E-2</c:v>
                </c:pt>
                <c:pt idx="4">
                  <c:v>4.1343411473230188E-2</c:v>
                </c:pt>
                <c:pt idx="5">
                  <c:v>4.3725880508402653E-3</c:v>
                </c:pt>
                <c:pt idx="6">
                  <c:v>4.1440990923866085E-2</c:v>
                </c:pt>
                <c:pt idx="7">
                  <c:v>0.11830612581192236</c:v>
                </c:pt>
                <c:pt idx="8">
                  <c:v>0.13338433747979911</c:v>
                </c:pt>
                <c:pt idx="9">
                  <c:v>4.5186169508003936E-2</c:v>
                </c:pt>
                <c:pt idx="10">
                  <c:v>0.1990006993601412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alak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1.0373462332664182E-6</c:v>
                </c:pt>
                <c:pt idx="1">
                  <c:v>3.0774919553610828E-5</c:v>
                </c:pt>
                <c:pt idx="4">
                  <c:v>2.0936176639641302E-4</c:v>
                </c:pt>
                <c:pt idx="5">
                  <c:v>1.1954430850568996E-2</c:v>
                </c:pt>
                <c:pt idx="6">
                  <c:v>1.5789455511649245E-2</c:v>
                </c:pt>
                <c:pt idx="7">
                  <c:v>3.6089201831129236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Galbani</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4.4770126651555495E-5</c:v>
                </c:pt>
                <c:pt idx="1">
                  <c:v>1.6185829377370841E-3</c:v>
                </c:pt>
                <c:pt idx="2">
                  <c:v>6.2229069634481455E-4</c:v>
                </c:pt>
                <c:pt idx="3">
                  <c:v>1.6948547870356218E-3</c:v>
                </c:pt>
                <c:pt idx="4">
                  <c:v>9.7695163351760855E-3</c:v>
                </c:pt>
                <c:pt idx="5">
                  <c:v>3.5471246468041374E-2</c:v>
                </c:pt>
                <c:pt idx="6">
                  <c:v>1.2537394892261569E-2</c:v>
                </c:pt>
                <c:pt idx="7">
                  <c:v>1.3691035283868136E-2</c:v>
                </c:pt>
                <c:pt idx="8">
                  <c:v>1.4685893740976209E-2</c:v>
                </c:pt>
                <c:pt idx="9">
                  <c:v>1.3849072481170953E-3</c:v>
                </c:pt>
                <c:pt idx="10">
                  <c:v>2.9322379030104984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5.7685389303761209E-3</c:v>
                </c:pt>
                <c:pt idx="1">
                  <c:v>5.1354736141471053E-3</c:v>
                </c:pt>
                <c:pt idx="2">
                  <c:v>1.5836290891766119E-2</c:v>
                </c:pt>
                <c:pt idx="3">
                  <c:v>2.1345995418690148E-2</c:v>
                </c:pt>
                <c:pt idx="4">
                  <c:v>9.1475909281781998E-3</c:v>
                </c:pt>
                <c:pt idx="5">
                  <c:v>1.6248426945612661E-2</c:v>
                </c:pt>
                <c:pt idx="6">
                  <c:v>3.5882121471325912E-2</c:v>
                </c:pt>
                <c:pt idx="7">
                  <c:v>4.1053672835907877E-2</c:v>
                </c:pt>
                <c:pt idx="8">
                  <c:v>3.3821851798645948E-2</c:v>
                </c:pt>
                <c:pt idx="9">
                  <c:v>4.3204743812452952E-3</c:v>
                </c:pt>
                <c:pt idx="10">
                  <c:v>1.4793144392254549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3933771819624458E-2</c:v>
                </c:pt>
                <c:pt idx="1">
                  <c:v>2.1306896673764057E-2</c:v>
                </c:pt>
                <c:pt idx="2">
                  <c:v>2.5548831278795543E-2</c:v>
                </c:pt>
                <c:pt idx="3">
                  <c:v>5.7767970366862181E-2</c:v>
                </c:pt>
                <c:pt idx="4">
                  <c:v>7.3278076667783243E-2</c:v>
                </c:pt>
                <c:pt idx="5">
                  <c:v>0.11719239595450313</c:v>
                </c:pt>
                <c:pt idx="6">
                  <c:v>0.13363631496397968</c:v>
                </c:pt>
                <c:pt idx="7">
                  <c:v>0.18577181469164547</c:v>
                </c:pt>
                <c:pt idx="8">
                  <c:v>0.2060222230819663</c:v>
                </c:pt>
                <c:pt idx="9">
                  <c:v>0.13022682695731488</c:v>
                </c:pt>
                <c:pt idx="10">
                  <c:v>2.5314877543761053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2664777716174216E-2</c:v>
                </c:pt>
                <c:pt idx="1">
                  <c:v>1.455215005945285E-2</c:v>
                </c:pt>
                <c:pt idx="2">
                  <c:v>3.1793157987583059E-2</c:v>
                </c:pt>
                <c:pt idx="3">
                  <c:v>4.8197250418922831E-2</c:v>
                </c:pt>
                <c:pt idx="4">
                  <c:v>3.6172401739128744E-2</c:v>
                </c:pt>
                <c:pt idx="5">
                  <c:v>0.10756737889583759</c:v>
                </c:pt>
                <c:pt idx="6">
                  <c:v>0.1437797360274827</c:v>
                </c:pt>
                <c:pt idx="7">
                  <c:v>0.16541094068946494</c:v>
                </c:pt>
                <c:pt idx="8">
                  <c:v>0.17248314445239338</c:v>
                </c:pt>
                <c:pt idx="9">
                  <c:v>0.20438488641867086</c:v>
                </c:pt>
                <c:pt idx="10">
                  <c:v>6.2994175594888818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6.8193811307894463E-4</c:v>
                </c:pt>
                <c:pt idx="1">
                  <c:v>6.0173469111435029E-5</c:v>
                </c:pt>
                <c:pt idx="2">
                  <c:v>8.963845470016352E-3</c:v>
                </c:pt>
                <c:pt idx="3">
                  <c:v>2.3701830432512266E-2</c:v>
                </c:pt>
                <c:pt idx="4">
                  <c:v>1.3538136962298842E-2</c:v>
                </c:pt>
                <c:pt idx="5">
                  <c:v>5.2050714440147451E-2</c:v>
                </c:pt>
                <c:pt idx="6">
                  <c:v>6.6835411572889747E-2</c:v>
                </c:pt>
                <c:pt idx="7">
                  <c:v>7.8245022457428454E-2</c:v>
                </c:pt>
                <c:pt idx="8">
                  <c:v>0.12333337649728078</c:v>
                </c:pt>
                <c:pt idx="9">
                  <c:v>0.18253935133240679</c:v>
                </c:pt>
                <c:pt idx="10">
                  <c:v>3.1980889805023643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alak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2.8323074475378015E-6</c:v>
                </c:pt>
                <c:pt idx="3">
                  <c:v>8.0997722208184354E-7</c:v>
                </c:pt>
                <c:pt idx="4">
                  <c:v>3.4743737786523303E-3</c:v>
                </c:pt>
                <c:pt idx="5">
                  <c:v>1.0002058596302368E-2</c:v>
                </c:pt>
                <c:pt idx="6">
                  <c:v>2.3991525318064207E-2</c:v>
                </c:pt>
                <c:pt idx="7">
                  <c:v>3.0133399695028422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Galbani</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1.7244676341097316E-7</c:v>
                </c:pt>
                <c:pt idx="1">
                  <c:v>6.8490106201391507E-4</c:v>
                </c:pt>
                <c:pt idx="2">
                  <c:v>5.0108326353681221E-4</c:v>
                </c:pt>
                <c:pt idx="3">
                  <c:v>3.149750585020419E-3</c:v>
                </c:pt>
                <c:pt idx="4">
                  <c:v>8.9383965082644908E-3</c:v>
                </c:pt>
                <c:pt idx="5">
                  <c:v>2.4433093545586246E-2</c:v>
                </c:pt>
                <c:pt idx="6">
                  <c:v>1.1380854080325055E-2</c:v>
                </c:pt>
                <c:pt idx="7">
                  <c:v>1.5430902186178689E-2</c:v>
                </c:pt>
                <c:pt idx="8">
                  <c:v>6.3719131336949552E-3</c:v>
                </c:pt>
                <c:pt idx="9">
                  <c:v>1.3821451317604578E-2</c:v>
                </c:pt>
                <c:pt idx="10">
                  <c:v>1.774418145546594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1.1979834848884326E-2</c:v>
                </c:pt>
                <c:pt idx="1">
                  <c:v>1.38070755283275E-2</c:v>
                </c:pt>
                <c:pt idx="2">
                  <c:v>2.2328229254029896E-2</c:v>
                </c:pt>
                <c:pt idx="3">
                  <c:v>2.1344859424168066E-2</c:v>
                </c:pt>
                <c:pt idx="4">
                  <c:v>1.0221494489913082E-2</c:v>
                </c:pt>
                <c:pt idx="5">
                  <c:v>2.1081512313801523E-2</c:v>
                </c:pt>
                <c:pt idx="6">
                  <c:v>4.1571945056203694E-2</c:v>
                </c:pt>
                <c:pt idx="7">
                  <c:v>4.1601616350829373E-2</c:v>
                </c:pt>
                <c:pt idx="8">
                  <c:v>4.2777854821417632E-2</c:v>
                </c:pt>
                <c:pt idx="9">
                  <c:v>8.0240837686595106E-3</c:v>
                </c:pt>
                <c:pt idx="10">
                  <c:v>1.3269104334399231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4.1233788397141476E-3</c:v>
                </c:pt>
                <c:pt idx="1">
                  <c:v>3.9175222582530523E-3</c:v>
                </c:pt>
                <c:pt idx="2">
                  <c:v>2.0573970079543279E-2</c:v>
                </c:pt>
                <c:pt idx="3">
                  <c:v>9.2174349105215783E-2</c:v>
                </c:pt>
                <c:pt idx="4">
                  <c:v>2.4063880146346323E-2</c:v>
                </c:pt>
                <c:pt idx="5">
                  <c:v>8.1603425497824275E-2</c:v>
                </c:pt>
                <c:pt idx="6">
                  <c:v>0.12296985512425648</c:v>
                </c:pt>
                <c:pt idx="7">
                  <c:v>0.20932020763186437</c:v>
                </c:pt>
                <c:pt idx="8">
                  <c:v>0.14848773889644468</c:v>
                </c:pt>
                <c:pt idx="9">
                  <c:v>0.13344545786542819</c:v>
                </c:pt>
                <c:pt idx="10">
                  <c:v>0.15932021455510939</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2">
                  <c:v>1.3363654757254455E-3</c:v>
                </c:pt>
                <c:pt idx="3">
                  <c:v>8.7012190295048905E-2</c:v>
                </c:pt>
                <c:pt idx="4">
                  <c:v>1.268574689640904E-3</c:v>
                </c:pt>
                <c:pt idx="5">
                  <c:v>1.0192482745461189E-3</c:v>
                </c:pt>
                <c:pt idx="6">
                  <c:v>3.1913976611991468E-2</c:v>
                </c:pt>
                <c:pt idx="7">
                  <c:v>0.11080357151802092</c:v>
                </c:pt>
                <c:pt idx="8">
                  <c:v>9.8545501973014871E-2</c:v>
                </c:pt>
                <c:pt idx="9">
                  <c:v>0.12773422056645714</c:v>
                </c:pt>
                <c:pt idx="10">
                  <c:v>0.1122901225403777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1.1388330782579099E-4</c:v>
                </c:pt>
                <c:pt idx="1">
                  <c:v>1.182099287038528E-3</c:v>
                </c:pt>
                <c:pt idx="2">
                  <c:v>3.7134657204931074E-4</c:v>
                </c:pt>
                <c:pt idx="3">
                  <c:v>3.8658096905670306E-3</c:v>
                </c:pt>
                <c:pt idx="4">
                  <c:v>1.8925822373788977E-2</c:v>
                </c:pt>
                <c:pt idx="5">
                  <c:v>5.1330828101471021E-2</c:v>
                </c:pt>
                <c:pt idx="6">
                  <c:v>2.4754917737717784E-2</c:v>
                </c:pt>
                <c:pt idx="7">
                  <c:v>2.6714253088929971E-2</c:v>
                </c:pt>
                <c:pt idx="8">
                  <c:v>2.276403682426777E-2</c:v>
                </c:pt>
                <c:pt idx="9">
                  <c:v>2.986582009986952E-3</c:v>
                </c:pt>
                <c:pt idx="10">
                  <c:v>3.7292450176073189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alaki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4">
                  <c:v>1.0368088818749992E-3</c:v>
                </c:pt>
                <c:pt idx="5">
                  <c:v>2.0182016672363141E-2</c:v>
                </c:pt>
                <c:pt idx="6">
                  <c:v>2.3140351842732023E-2</c:v>
                </c:pt>
                <c:pt idx="7">
                  <c:v>4.0682909864636144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4.0094955318883563E-3</c:v>
                </c:pt>
                <c:pt idx="1">
                  <c:v>2.7354229712145241E-3</c:v>
                </c:pt>
                <c:pt idx="2">
                  <c:v>1.8866258031768522E-2</c:v>
                </c:pt>
                <c:pt idx="3">
                  <c:v>1.2963491195998476E-3</c:v>
                </c:pt>
                <c:pt idx="4">
                  <c:v>2.8326742010414403E-3</c:v>
                </c:pt>
                <c:pt idx="5">
                  <c:v>9.0713324494440008E-3</c:v>
                </c:pt>
                <c:pt idx="6">
                  <c:v>4.3160608931815218E-2</c:v>
                </c:pt>
                <c:pt idx="7">
                  <c:v>3.1119473160277349E-2</c:v>
                </c:pt>
                <c:pt idx="8">
                  <c:v>2.7178200099162046E-2</c:v>
                </c:pt>
                <c:pt idx="9">
                  <c:v>2.7246552889841065E-3</c:v>
                </c:pt>
                <c:pt idx="10">
                  <c:v>9.7376418386584673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233413980241707E-2</c:v>
                </c:pt>
                <c:pt idx="1">
                  <c:v>1.8516038253045788E-2</c:v>
                </c:pt>
                <c:pt idx="2">
                  <c:v>1.0825272627964894E-2</c:v>
                </c:pt>
                <c:pt idx="3">
                  <c:v>1.3085022230190355E-2</c:v>
                </c:pt>
                <c:pt idx="4">
                  <c:v>2.27156576849857E-2</c:v>
                </c:pt>
                <c:pt idx="5">
                  <c:v>0.15241475836441309</c:v>
                </c:pt>
                <c:pt idx="6">
                  <c:v>0.1326046133269137</c:v>
                </c:pt>
                <c:pt idx="7">
                  <c:v>0.14706949062230559</c:v>
                </c:pt>
                <c:pt idx="8">
                  <c:v>0.27489550926231998</c:v>
                </c:pt>
                <c:pt idx="9">
                  <c:v>0.18418147748810215</c:v>
                </c:pt>
                <c:pt idx="10">
                  <c:v>2.135802033734167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2.0239547921764041E-4</c:v>
                </c:pt>
                <c:pt idx="1">
                  <c:v>2.6155826392256924E-4</c:v>
                </c:pt>
                <c:pt idx="2">
                  <c:v>1.6105252827636695E-4</c:v>
                </c:pt>
                <c:pt idx="3">
                  <c:v>2.96035532044395E-7</c:v>
                </c:pt>
                <c:pt idx="4">
                  <c:v>4.327278483194817E-3</c:v>
                </c:pt>
                <c:pt idx="5">
                  <c:v>2.6641117272685588E-2</c:v>
                </c:pt>
                <c:pt idx="6">
                  <c:v>4.6877816897776911E-2</c:v>
                </c:pt>
                <c:pt idx="7">
                  <c:v>2.922080602178018E-3</c:v>
                </c:pt>
                <c:pt idx="8">
                  <c:v>0.15826895383529171</c:v>
                </c:pt>
                <c:pt idx="9">
                  <c:v>0.12122166244086677</c:v>
                </c:pt>
                <c:pt idx="10">
                  <c:v>1.4596743563487793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1.3018037082867506E-4</c:v>
                </c:pt>
                <c:pt idx="1">
                  <c:v>6.4300171947890249E-4</c:v>
                </c:pt>
                <c:pt idx="2">
                  <c:v>1.6497541720523774E-3</c:v>
                </c:pt>
                <c:pt idx="3">
                  <c:v>1.3439946254130326E-3</c:v>
                </c:pt>
                <c:pt idx="4">
                  <c:v>2.512854128313462E-3</c:v>
                </c:pt>
                <c:pt idx="5">
                  <c:v>9.0940978132389619E-2</c:v>
                </c:pt>
                <c:pt idx="6">
                  <c:v>4.0292258954914076E-2</c:v>
                </c:pt>
                <c:pt idx="7">
                  <c:v>1.3849474617336882E-2</c:v>
                </c:pt>
                <c:pt idx="8">
                  <c:v>5.5697814241133974E-3</c:v>
                </c:pt>
                <c:pt idx="10">
                  <c:v>3.8131718051300349E-5</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eur De Li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2">
                  <c:v>1.9245152862007006E-4</c:v>
                </c:pt>
                <c:pt idx="3">
                  <c:v>4.6965543766289862E-3</c:v>
                </c:pt>
                <c:pt idx="5">
                  <c:v>3.7292206440384962E-3</c:v>
                </c:pt>
                <c:pt idx="6">
                  <c:v>9.8584916622859332E-3</c:v>
                </c:pt>
                <c:pt idx="7">
                  <c:v>6.7705722895600715E-2</c:v>
                </c:pt>
                <c:pt idx="8">
                  <c:v>3.598281619439564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2001563952370753E-2</c:v>
                </c:pt>
                <c:pt idx="1">
                  <c:v>1.7611478269644317E-2</c:v>
                </c:pt>
                <c:pt idx="2">
                  <c:v>8.8220143990160784E-3</c:v>
                </c:pt>
                <c:pt idx="3">
                  <c:v>7.0441771926162905E-3</c:v>
                </c:pt>
                <c:pt idx="4">
                  <c:v>1.587552507347742E-2</c:v>
                </c:pt>
                <c:pt idx="5">
                  <c:v>3.1103442315299382E-2</c:v>
                </c:pt>
                <c:pt idx="6">
                  <c:v>3.5576045811936782E-2</c:v>
                </c:pt>
                <c:pt idx="7">
                  <c:v>6.2592212507189979E-2</c:v>
                </c:pt>
                <c:pt idx="8">
                  <c:v>7.5073957808519234E-2</c:v>
                </c:pt>
                <c:pt idx="9">
                  <c:v>6.2959815047235385E-2</c:v>
                </c:pt>
                <c:pt idx="10">
                  <c:v>6.7231450558025768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9772656352017654E-2</c:v>
                </c:pt>
                <c:pt idx="1">
                  <c:v>2.3212152827471175E-2</c:v>
                </c:pt>
                <c:pt idx="2">
                  <c:v>9.5276320472047864E-3</c:v>
                </c:pt>
                <c:pt idx="3">
                  <c:v>2.0834565919059692E-2</c:v>
                </c:pt>
                <c:pt idx="4">
                  <c:v>5.6280952496327266E-2</c:v>
                </c:pt>
                <c:pt idx="5">
                  <c:v>0.14858554007140798</c:v>
                </c:pt>
                <c:pt idx="6">
                  <c:v>0.13431405689832426</c:v>
                </c:pt>
                <c:pt idx="7">
                  <c:v>0.17459164325638371</c:v>
                </c:pt>
                <c:pt idx="8">
                  <c:v>0.24859878263049723</c:v>
                </c:pt>
                <c:pt idx="9">
                  <c:v>0.15784269013818414</c:v>
                </c:pt>
                <c:pt idx="10">
                  <c:v>6.4393273631220939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5.8962960134599442E-8</c:v>
                </c:pt>
                <c:pt idx="1">
                  <c:v>1.6697808497691885E-6</c:v>
                </c:pt>
                <c:pt idx="2">
                  <c:v>3.6781357983487139E-3</c:v>
                </c:pt>
                <c:pt idx="3">
                  <c:v>4.2644684920514373E-3</c:v>
                </c:pt>
                <c:pt idx="4">
                  <c:v>7.5763765632866874E-4</c:v>
                </c:pt>
                <c:pt idx="5">
                  <c:v>3.0338525510822125E-3</c:v>
                </c:pt>
                <c:pt idx="6">
                  <c:v>2.6946235870550614E-3</c:v>
                </c:pt>
                <c:pt idx="7">
                  <c:v>7.3657771785897649E-3</c:v>
                </c:pt>
                <c:pt idx="8">
                  <c:v>6.8276009144131421E-3</c:v>
                </c:pt>
                <c:pt idx="9">
                  <c:v>4.1399525200888969E-8</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1.4571967969247569E-3</c:v>
                </c:pt>
                <c:pt idx="1">
                  <c:v>2.0602900256785073E-3</c:v>
                </c:pt>
                <c:pt idx="2">
                  <c:v>4.4247749808156798E-3</c:v>
                </c:pt>
                <c:pt idx="3">
                  <c:v>7.010573015959338E-3</c:v>
                </c:pt>
                <c:pt idx="4">
                  <c:v>9.7034678592044961E-3</c:v>
                </c:pt>
                <c:pt idx="5">
                  <c:v>3.1744045664047635E-2</c:v>
                </c:pt>
                <c:pt idx="6">
                  <c:v>3.5501116557112716E-2</c:v>
                </c:pt>
                <c:pt idx="7">
                  <c:v>4.9095537610288759E-2</c:v>
                </c:pt>
                <c:pt idx="8">
                  <c:v>7.8669112803194455E-2</c:v>
                </c:pt>
                <c:pt idx="9">
                  <c:v>9.6870314949811021E-2</c:v>
                </c:pt>
                <c:pt idx="10">
                  <c:v>1.6577214189843828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4.1399525200888969E-8</c:v>
                </c:pt>
                <c:pt idx="1">
                  <c:v>2.2406803022894474E-4</c:v>
                </c:pt>
                <c:pt idx="2">
                  <c:v>1.0817031033526941E-3</c:v>
                </c:pt>
                <c:pt idx="3">
                  <c:v>5.6771419814192385E-4</c:v>
                </c:pt>
                <c:pt idx="4">
                  <c:v>5.1141774378958161E-3</c:v>
                </c:pt>
                <c:pt idx="5">
                  <c:v>2.0864599200890559E-2</c:v>
                </c:pt>
                <c:pt idx="6">
                  <c:v>8.1406571098990698E-3</c:v>
                </c:pt>
                <c:pt idx="7">
                  <c:v>3.6307872868295635E-3</c:v>
                </c:pt>
                <c:pt idx="8">
                  <c:v>1.1776596755819545E-3</c:v>
                </c:pt>
                <c:pt idx="9">
                  <c:v>6.3102912654688339E-7</c:v>
                </c:pt>
                <c:pt idx="10">
                  <c:v>7.611239981630102E-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a Vache Qui Ri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2.5956247769890692E-6</c:v>
                </c:pt>
                <c:pt idx="1">
                  <c:v>6.0844756734639851E-7</c:v>
                </c:pt>
                <c:pt idx="2">
                  <c:v>4.2189879772905938E-6</c:v>
                </c:pt>
                <c:pt idx="3">
                  <c:v>1.5979041231933649E-2</c:v>
                </c:pt>
                <c:pt idx="4">
                  <c:v>3.917576852268922E-3</c:v>
                </c:pt>
                <c:pt idx="5">
                  <c:v>5.4622746820334241E-3</c:v>
                </c:pt>
                <c:pt idx="6">
                  <c:v>2.7437736051859835E-3</c:v>
                </c:pt>
                <c:pt idx="7">
                  <c:v>6.3472823685013615E-3</c:v>
                </c:pt>
                <c:pt idx="8">
                  <c:v>1.9746707894388021E-3</c:v>
                </c:pt>
                <c:pt idx="9">
                  <c:v>1.7712159591666999E-3</c:v>
                </c:pt>
                <c:pt idx="10">
                  <c:v>2.0280749224168819E-5</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2473879035437381E-2</c:v>
                </c:pt>
                <c:pt idx="1">
                  <c:v>1.9020260389439488E-2</c:v>
                </c:pt>
                <c:pt idx="2">
                  <c:v>1.6359998408301164E-2</c:v>
                </c:pt>
                <c:pt idx="3">
                  <c:v>2.9946173428775834E-2</c:v>
                </c:pt>
                <c:pt idx="4">
                  <c:v>5.378521686208533E-2</c:v>
                </c:pt>
                <c:pt idx="5">
                  <c:v>5.6087623856449297E-2</c:v>
                </c:pt>
                <c:pt idx="6">
                  <c:v>8.4556144104726866E-2</c:v>
                </c:pt>
                <c:pt idx="7">
                  <c:v>0.11933243024743602</c:v>
                </c:pt>
                <c:pt idx="8">
                  <c:v>0.11737317889933795</c:v>
                </c:pt>
                <c:pt idx="9">
                  <c:v>3.1584623619685413E-2</c:v>
                </c:pt>
                <c:pt idx="10">
                  <c:v>8.7097713647114241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1.1072206953701329E-4</c:v>
                </c:pt>
                <c:pt idx="1">
                  <c:v>9.8258963677779861E-7</c:v>
                </c:pt>
                <c:pt idx="2">
                  <c:v>5.3737979969518241E-4</c:v>
                </c:pt>
                <c:pt idx="3">
                  <c:v>3.7915792159768625E-3</c:v>
                </c:pt>
                <c:pt idx="4">
                  <c:v>1.74384459394888E-2</c:v>
                </c:pt>
                <c:pt idx="5">
                  <c:v>2.398886702522296E-2</c:v>
                </c:pt>
                <c:pt idx="6">
                  <c:v>2.8077040668504298E-2</c:v>
                </c:pt>
                <c:pt idx="7">
                  <c:v>2.4364165355091935E-2</c:v>
                </c:pt>
                <c:pt idx="8">
                  <c:v>0.11227914318733516</c:v>
                </c:pt>
                <c:pt idx="9">
                  <c:v>0.10566720078983508</c:v>
                </c:pt>
                <c:pt idx="10">
                  <c:v>6.3641668926156143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1.6800755447496039E-7</c:v>
                </c:pt>
                <c:pt idx="1">
                  <c:v>9.0931288733664395E-4</c:v>
                </c:pt>
                <c:pt idx="2">
                  <c:v>4.389767568115952E-3</c:v>
                </c:pt>
                <c:pt idx="3">
                  <c:v>2.3038977767911605E-3</c:v>
                </c:pt>
                <c:pt idx="4">
                  <c:v>2.0754355039642937E-2</c:v>
                </c:pt>
                <c:pt idx="5">
                  <c:v>8.4672717134605294E-2</c:v>
                </c:pt>
                <c:pt idx="6">
                  <c:v>3.3036414939946537E-2</c:v>
                </c:pt>
                <c:pt idx="7">
                  <c:v>1.4734461081836587E-2</c:v>
                </c:pt>
                <c:pt idx="8">
                  <c:v>4.7791785325608238E-3</c:v>
                </c:pt>
                <c:pt idx="9">
                  <c:v>2.5608424212395474E-6</c:v>
                </c:pt>
                <c:pt idx="10">
                  <c:v>3.0887934333320745E-5</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eur De Li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2">
                  <c:v>3.5823283524473069E-4</c:v>
                </c:pt>
                <c:pt idx="3">
                  <c:v>7.7176408426039098E-3</c:v>
                </c:pt>
                <c:pt idx="4">
                  <c:v>1.4611566101307161E-6</c:v>
                </c:pt>
                <c:pt idx="5">
                  <c:v>2.6771749248684216E-4</c:v>
                </c:pt>
                <c:pt idx="6">
                  <c:v>2.7288245200244362E-2</c:v>
                </c:pt>
                <c:pt idx="7">
                  <c:v>4.7237192388286393E-2</c:v>
                </c:pt>
                <c:pt idx="8">
                  <c:v>4.7206900117100756E-2</c:v>
                </c:pt>
                <c:pt idx="9">
                  <c:v>4.5335056676763021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1.9661766274926166E-2</c:v>
                </c:pt>
                <c:pt idx="1">
                  <c:v>2.2301857350497754E-2</c:v>
                </c:pt>
                <c:pt idx="2">
                  <c:v>4.2422518441489225E-3</c:v>
                </c:pt>
                <c:pt idx="3">
                  <c:v>7.0214480836877603E-3</c:v>
                </c:pt>
                <c:pt idx="4">
                  <c:v>1.8086690360585397E-2</c:v>
                </c:pt>
                <c:pt idx="5">
                  <c:v>3.9656238419092903E-2</c:v>
                </c:pt>
                <c:pt idx="6">
                  <c:v>4.5912356089629056E-2</c:v>
                </c:pt>
                <c:pt idx="7">
                  <c:v>8.8255824431168806E-2</c:v>
                </c:pt>
                <c:pt idx="8">
                  <c:v>8.4333560793500489E-2</c:v>
                </c:pt>
                <c:pt idx="9">
                  <c:v>5.1719577939160176E-2</c:v>
                </c:pt>
                <c:pt idx="10">
                  <c:v>4.4272536173159256E-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3.180570518301911E-2</c:v>
                </c:pt>
                <c:pt idx="1">
                  <c:v>7.1787501568152164E-3</c:v>
                </c:pt>
                <c:pt idx="2">
                  <c:v>7.4170086151862345E-3</c:v>
                </c:pt>
                <c:pt idx="3">
                  <c:v>1.2870735468148011E-2</c:v>
                </c:pt>
                <c:pt idx="4">
                  <c:v>6.6308669366560491E-2</c:v>
                </c:pt>
                <c:pt idx="5">
                  <c:v>0.16040717619239409</c:v>
                </c:pt>
                <c:pt idx="6">
                  <c:v>0.13239687151562307</c:v>
                </c:pt>
                <c:pt idx="7">
                  <c:v>0.17333995418547299</c:v>
                </c:pt>
                <c:pt idx="8">
                  <c:v>0.20746469137783646</c:v>
                </c:pt>
                <c:pt idx="9">
                  <c:v>0.13202397008973621</c:v>
                </c:pt>
                <c:pt idx="10">
                  <c:v>6.8786467849208124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aprice Des Dieux</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2.8336730136716521E-6</c:v>
                </c:pt>
                <c:pt idx="1">
                  <c:v>4.8682005239262548E-5</c:v>
                </c:pt>
                <c:pt idx="2">
                  <c:v>2.8813918186540743E-3</c:v>
                </c:pt>
                <c:pt idx="3">
                  <c:v>3.3094815121602729E-3</c:v>
                </c:pt>
                <c:pt idx="4">
                  <c:v>1.5610344208995217E-2</c:v>
                </c:pt>
                <c:pt idx="5">
                  <c:v>9.3941797251143294E-2</c:v>
                </c:pt>
                <c:pt idx="6">
                  <c:v>3.8529799961824956E-2</c:v>
                </c:pt>
                <c:pt idx="7">
                  <c:v>2.5987851347800527E-2</c:v>
                </c:pt>
                <c:pt idx="8">
                  <c:v>2.4451056016719266E-3</c:v>
                </c:pt>
                <c:pt idx="9">
                  <c:v>9.9924258903158255E-6</c:v>
                </c:pt>
                <c:pt idx="10">
                  <c:v>5.6549176369324639E-7</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1.5779084465603199E-4</c:v>
                </c:pt>
                <c:pt idx="1">
                  <c:v>9.5077186642930433E-7</c:v>
                </c:pt>
                <c:pt idx="2">
                  <c:v>2.3452372705256172E-5</c:v>
                </c:pt>
                <c:pt idx="3">
                  <c:v>2.4147741148742704E-4</c:v>
                </c:pt>
                <c:pt idx="4">
                  <c:v>2.5505033237120191E-2</c:v>
                </c:pt>
                <c:pt idx="5">
                  <c:v>5.2118020194195586E-3</c:v>
                </c:pt>
                <c:pt idx="6">
                  <c:v>4.7774440672096533E-2</c:v>
                </c:pt>
                <c:pt idx="7">
                  <c:v>1.0407614914575571E-2</c:v>
                </c:pt>
                <c:pt idx="8">
                  <c:v>8.0755051314214038E-2</c:v>
                </c:pt>
                <c:pt idx="9">
                  <c:v>5.3486659403018173E-2</c:v>
                </c:pt>
                <c:pt idx="10">
                  <c:v>6.8785902357444431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4.8966056102102314E-3</c:v>
                </c:pt>
                <c:pt idx="1">
                  <c:v>6.8056063773153435E-3</c:v>
                </c:pt>
                <c:pt idx="3">
                  <c:v>6.5280120632940145E-5</c:v>
                </c:pt>
                <c:pt idx="4">
                  <c:v>1.1993396746461159E-4</c:v>
                </c:pt>
                <c:pt idx="5">
                  <c:v>1.5752040288069209E-2</c:v>
                </c:pt>
                <c:pt idx="6">
                  <c:v>1.5937875795687305E-2</c:v>
                </c:pt>
                <c:pt idx="7">
                  <c:v>5.3315421039937611E-2</c:v>
                </c:pt>
                <c:pt idx="8">
                  <c:v>1.3359245781636511E-2</c:v>
                </c:pt>
                <c:pt idx="9">
                  <c:v>6.982920980467764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6748475055139175E-2</c:v>
                </c:pt>
                <c:pt idx="1">
                  <c:v>3.2351100239418025E-4</c:v>
                </c:pt>
                <c:pt idx="2">
                  <c:v>4.5121644238269041E-3</c:v>
                </c:pt>
                <c:pt idx="3">
                  <c:v>9.2544964238673727E-3</c:v>
                </c:pt>
                <c:pt idx="4">
                  <c:v>2.5073357952980466E-2</c:v>
                </c:pt>
                <c:pt idx="5">
                  <c:v>4.5501536633762003E-2</c:v>
                </c:pt>
                <c:pt idx="6">
                  <c:v>3.0154755086014281E-2</c:v>
                </c:pt>
                <c:pt idx="7">
                  <c:v>8.3629066883159284E-2</c:v>
                </c:pt>
                <c:pt idx="8">
                  <c:v>0.11090528868031398</c:v>
                </c:pt>
                <c:pt idx="9">
                  <c:v>8.698108456150065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3.3951101757598065E-2</c:v>
                </c:pt>
                <c:pt idx="1">
                  <c:v>2.171650644987758E-2</c:v>
                </c:pt>
                <c:pt idx="2">
                  <c:v>4.1399587782975131E-2</c:v>
                </c:pt>
                <c:pt idx="3">
                  <c:v>2.1668009689674434E-2</c:v>
                </c:pt>
                <c:pt idx="4">
                  <c:v>5.2557201124251975E-2</c:v>
                </c:pt>
                <c:pt idx="5">
                  <c:v>6.3701696813512995E-2</c:v>
                </c:pt>
                <c:pt idx="6">
                  <c:v>0.13085829476746524</c:v>
                </c:pt>
                <c:pt idx="7">
                  <c:v>0.17790741654622319</c:v>
                </c:pt>
                <c:pt idx="8">
                  <c:v>0.38182493017031233</c:v>
                </c:pt>
                <c:pt idx="9">
                  <c:v>7.1585046101095867E-2</c:v>
                </c:pt>
                <c:pt idx="10">
                  <c:v>2.8302087970132738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1.1623776833627002E-3</c:v>
                </c:pt>
                <c:pt idx="1">
                  <c:v>8.7656337149180381E-4</c:v>
                </c:pt>
                <c:pt idx="2">
                  <c:v>1.997401370399722E-2</c:v>
                </c:pt>
                <c:pt idx="3">
                  <c:v>1.6318094678739201E-3</c:v>
                </c:pt>
                <c:pt idx="4">
                  <c:v>6.8065736745573351E-3</c:v>
                </c:pt>
                <c:pt idx="5">
                  <c:v>4.2331941951958073E-2</c:v>
                </c:pt>
                <c:pt idx="6">
                  <c:v>1.0987943876921608E-2</c:v>
                </c:pt>
                <c:pt idx="7">
                  <c:v>0.10022590213000396</c:v>
                </c:pt>
                <c:pt idx="8">
                  <c:v>0.1956236050586164</c:v>
                </c:pt>
                <c:pt idx="9">
                  <c:v>6.9275193899495061E-2</c:v>
                </c:pt>
                <c:pt idx="10">
                  <c:v>2.5735545708546179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3.5754374852480474E-4</c:v>
                </c:pt>
                <c:pt idx="2">
                  <c:v>8.0046715052893927E-4</c:v>
                </c:pt>
                <c:pt idx="3">
                  <c:v>2.5948633414850514E-7</c:v>
                </c:pt>
                <c:pt idx="4">
                  <c:v>3.273279241273426E-2</c:v>
                </c:pt>
                <c:pt idx="5">
                  <c:v>3.1311350987252953E-6</c:v>
                </c:pt>
                <c:pt idx="6">
                  <c:v>7.7690728652379942E-2</c:v>
                </c:pt>
                <c:pt idx="7">
                  <c:v>2.2557626459423118E-2</c:v>
                </c:pt>
                <c:pt idx="8">
                  <c:v>0.1138995715774357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3">
                  <c:v>2.1390953659405658E-3</c:v>
                </c:pt>
                <c:pt idx="4">
                  <c:v>1.0266638593046117E-4</c:v>
                </c:pt>
                <c:pt idx="6">
                  <c:v>2.2550160666894904E-2</c:v>
                </c:pt>
                <c:pt idx="7">
                  <c:v>2.6964534769534014E-3</c:v>
                </c:pt>
                <c:pt idx="8">
                  <c:v>4.870493991078667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3.243118032571056E-2</c:v>
                </c:pt>
                <c:pt idx="1">
                  <c:v>2.0839943078385777E-2</c:v>
                </c:pt>
                <c:pt idx="2">
                  <c:v>2.0625106928448968E-2</c:v>
                </c:pt>
                <c:pt idx="3">
                  <c:v>1.7896845369525804E-2</c:v>
                </c:pt>
                <c:pt idx="4">
                  <c:v>1.2915168651029919E-2</c:v>
                </c:pt>
                <c:pt idx="5">
                  <c:v>2.1366623726456209E-2</c:v>
                </c:pt>
                <c:pt idx="6">
                  <c:v>1.9629461571268787E-2</c:v>
                </c:pt>
                <c:pt idx="7">
                  <c:v>5.242743447984273E-2</c:v>
                </c:pt>
                <c:pt idx="8">
                  <c:v>2.3596813623473423E-2</c:v>
                </c:pt>
                <c:pt idx="9">
                  <c:v>2.3098522016008045E-3</c:v>
                </c:pt>
                <c:pt idx="10">
                  <c:v>2.566542261586557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5.6578369953938744E-2</c:v>
                </c:pt>
                <c:pt idx="1">
                  <c:v>3.9748049335277487E-2</c:v>
                </c:pt>
                <c:pt idx="2">
                  <c:v>3.6152583544337209E-2</c:v>
                </c:pt>
                <c:pt idx="3">
                  <c:v>2.5469849750860748E-2</c:v>
                </c:pt>
                <c:pt idx="4">
                  <c:v>6.4813880382745381E-2</c:v>
                </c:pt>
                <c:pt idx="5">
                  <c:v>8.5197700245182306E-2</c:v>
                </c:pt>
                <c:pt idx="6">
                  <c:v>0.17447621527054127</c:v>
                </c:pt>
                <c:pt idx="7">
                  <c:v>0.20259246306990594</c:v>
                </c:pt>
                <c:pt idx="8">
                  <c:v>0.20923515941614845</c:v>
                </c:pt>
                <c:pt idx="9">
                  <c:v>0.10072276476360653</c:v>
                </c:pt>
                <c:pt idx="10">
                  <c:v>5.0129642674558942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7.2895615689523123E-3</c:v>
                </c:pt>
                <c:pt idx="1">
                  <c:v>1.2191397881004248E-2</c:v>
                </c:pt>
                <c:pt idx="2">
                  <c:v>1.0974375492565613E-2</c:v>
                </c:pt>
                <c:pt idx="3">
                  <c:v>2.2957743157416563E-3</c:v>
                </c:pt>
                <c:pt idx="4">
                  <c:v>1.2578924651319585E-2</c:v>
                </c:pt>
                <c:pt idx="5">
                  <c:v>5.5726885091712086E-2</c:v>
                </c:pt>
                <c:pt idx="6">
                  <c:v>3.0004173992332232E-2</c:v>
                </c:pt>
                <c:pt idx="7">
                  <c:v>0.1044620805993903</c:v>
                </c:pt>
                <c:pt idx="8">
                  <c:v>8.336121691648106E-2</c:v>
                </c:pt>
                <c:pt idx="9">
                  <c:v>9.0957371374645851E-2</c:v>
                </c:pt>
                <c:pt idx="10">
                  <c:v>4.172937746034118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6.7037277176314197E-5</c:v>
                </c:pt>
                <c:pt idx="2">
                  <c:v>2.1039368592767134E-5</c:v>
                </c:pt>
                <c:pt idx="3">
                  <c:v>1.2804621056102856E-5</c:v>
                </c:pt>
                <c:pt idx="4">
                  <c:v>3.2882094847373367E-2</c:v>
                </c:pt>
                <c:pt idx="5">
                  <c:v>1.6265488739259478E-2</c:v>
                </c:pt>
                <c:pt idx="6">
                  <c:v>7.8624434563229401E-2</c:v>
                </c:pt>
                <c:pt idx="7">
                  <c:v>5.0416138591354513E-2</c:v>
                </c:pt>
                <c:pt idx="8">
                  <c:v>7.9057151473977558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3">
                  <c:v>5.2155196105875398E-3</c:v>
                </c:pt>
                <c:pt idx="4">
                  <c:v>1.9176191518417963E-3</c:v>
                </c:pt>
                <c:pt idx="5">
                  <c:v>2.2228582814683231E-5</c:v>
                </c:pt>
                <c:pt idx="6">
                  <c:v>2.1670370146516651E-2</c:v>
                </c:pt>
                <c:pt idx="7">
                  <c:v>3.1357634404897868E-3</c:v>
                </c:pt>
                <c:pt idx="8">
                  <c:v>3.4526980058321013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4.9221771107810119E-2</c:v>
                </c:pt>
                <c:pt idx="1">
                  <c:v>2.7556651454273242E-2</c:v>
                </c:pt>
                <c:pt idx="2">
                  <c:v>2.515716868317883E-2</c:v>
                </c:pt>
                <c:pt idx="3">
                  <c:v>1.7945751203475444E-2</c:v>
                </c:pt>
                <c:pt idx="4">
                  <c:v>1.743524173221063E-2</c:v>
                </c:pt>
                <c:pt idx="5">
                  <c:v>1.3183097831396064E-2</c:v>
                </c:pt>
                <c:pt idx="6">
                  <c:v>4.417723656846298E-2</c:v>
                </c:pt>
                <c:pt idx="7">
                  <c:v>4.457848043867136E-2</c:v>
                </c:pt>
                <c:pt idx="8">
                  <c:v>1.228981096736885E-2</c:v>
                </c:pt>
                <c:pt idx="9">
                  <c:v>9.7653933889606855E-3</c:v>
                </c:pt>
                <c:pt idx="10">
                  <c:v>8.4002652142177578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3.3E-3</c:v>
                </c:pt>
                <c:pt idx="1">
                  <c:v>7.6799999999999993E-2</c:v>
                </c:pt>
                <c:pt idx="2">
                  <c:v>0.13689999999999999</c:v>
                </c:pt>
                <c:pt idx="4">
                  <c:v>8.0000000000000004E-4</c:v>
                </c:pt>
                <c:pt idx="5">
                  <c:v>0.16589999999999999</c:v>
                </c:pt>
                <c:pt idx="6">
                  <c:v>0.12740000000000001</c:v>
                </c:pt>
                <c:pt idx="7">
                  <c:v>0.2137</c:v>
                </c:pt>
                <c:pt idx="8">
                  <c:v>0.2750000000000000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150705379299439E-2</c:v>
                </c:pt>
                <c:pt idx="1">
                  <c:v>9.0902853088647602E-3</c:v>
                </c:pt>
                <c:pt idx="2">
                  <c:v>1.6253323699152004E-2</c:v>
                </c:pt>
                <c:pt idx="3">
                  <c:v>1.2374473445219698E-2</c:v>
                </c:pt>
                <c:pt idx="4">
                  <c:v>5.2044058253641882E-2</c:v>
                </c:pt>
                <c:pt idx="5">
                  <c:v>9.1526042103984434E-2</c:v>
                </c:pt>
                <c:pt idx="6">
                  <c:v>0.20203294286153259</c:v>
                </c:pt>
                <c:pt idx="7">
                  <c:v>0.15911147347283777</c:v>
                </c:pt>
                <c:pt idx="8">
                  <c:v>0.36684529217071971</c:v>
                </c:pt>
                <c:pt idx="9">
                  <c:v>7.9215054891052752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oignon</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3">
                  <c:v>2.0899562649838795E-3</c:v>
                </c:pt>
                <c:pt idx="4">
                  <c:v>4.2185404740382765E-2</c:v>
                </c:pt>
                <c:pt idx="5">
                  <c:v>1.4575780542626026E-3</c:v>
                </c:pt>
                <c:pt idx="6">
                  <c:v>0.12407181931779919</c:v>
                </c:pt>
                <c:pt idx="7">
                  <c:v>2.5947318948741912E-2</c:v>
                </c:pt>
                <c:pt idx="8">
                  <c:v>0.13866626099566751</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1">
                  <c:v>1.2371282471877402E-3</c:v>
                </c:pt>
                <c:pt idx="2">
                  <c:v>1.3954287994129417E-2</c:v>
                </c:pt>
                <c:pt idx="3">
                  <c:v>5.5065899910778969E-3</c:v>
                </c:pt>
                <c:pt idx="4">
                  <c:v>5.8299284924079823E-3</c:v>
                </c:pt>
                <c:pt idx="5">
                  <c:v>7.9707656351761191E-2</c:v>
                </c:pt>
                <c:pt idx="6">
                  <c:v>2.6179522847495355E-2</c:v>
                </c:pt>
                <c:pt idx="7">
                  <c:v>8.0365178624578398E-2</c:v>
                </c:pt>
                <c:pt idx="8">
                  <c:v>0.12693046692371843</c:v>
                </c:pt>
                <c:pt idx="9">
                  <c:v>7.9215054891052752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2">
                  <c:v>1.4137223668398494E-7</c:v>
                </c:pt>
                <c:pt idx="3">
                  <c:v>2.2215637193197631E-7</c:v>
                </c:pt>
                <c:pt idx="4">
                  <c:v>1.3127421977798601E-7</c:v>
                </c:pt>
                <c:pt idx="6">
                  <c:v>2.4006328629155329E-2</c:v>
                </c:pt>
                <c:pt idx="7">
                  <c:v>1.0861124043585262E-3</c:v>
                </c:pt>
                <c:pt idx="8">
                  <c:v>7.850165019267774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1.150705379299439E-2</c:v>
                </c:pt>
                <c:pt idx="1">
                  <c:v>7.8531570616770206E-3</c:v>
                </c:pt>
                <c:pt idx="2">
                  <c:v>2.2988943327859031E-3</c:v>
                </c:pt>
                <c:pt idx="3">
                  <c:v>4.7777050327859885E-3</c:v>
                </c:pt>
                <c:pt idx="4">
                  <c:v>4.0285937466313648E-3</c:v>
                </c:pt>
                <c:pt idx="5">
                  <c:v>1.0360807697960639E-2</c:v>
                </c:pt>
                <c:pt idx="6">
                  <c:v>2.7775272067082742E-2</c:v>
                </c:pt>
                <c:pt idx="7">
                  <c:v>5.1712863495158932E-2</c:v>
                </c:pt>
                <c:pt idx="8">
                  <c:v>2.2746914058656045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4.1229236969787683E-2</c:v>
                </c:pt>
                <c:pt idx="1">
                  <c:v>3.4208146091019583E-2</c:v>
                </c:pt>
                <c:pt idx="2">
                  <c:v>4.638899137720838E-2</c:v>
                </c:pt>
                <c:pt idx="3">
                  <c:v>4.236303860922852E-2</c:v>
                </c:pt>
                <c:pt idx="4">
                  <c:v>7.3599001227352384E-2</c:v>
                </c:pt>
                <c:pt idx="5">
                  <c:v>0.21666215265832334</c:v>
                </c:pt>
                <c:pt idx="6">
                  <c:v>0.35850197330543981</c:v>
                </c:pt>
                <c:pt idx="7">
                  <c:v>0.11680761238296965</c:v>
                </c:pt>
                <c:pt idx="8">
                  <c:v>4.7250813869102577E-2</c:v>
                </c:pt>
                <c:pt idx="9">
                  <c:v>2.2988851810587341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1.2067234970202518E-4</c:v>
                </c:pt>
                <c:pt idx="1">
                  <c:v>2.8405607312913979E-6</c:v>
                </c:pt>
                <c:pt idx="2">
                  <c:v>2.000832835447843E-3</c:v>
                </c:pt>
                <c:pt idx="3">
                  <c:v>2.0922698191585174E-3</c:v>
                </c:pt>
                <c:pt idx="4">
                  <c:v>1.9837289047332017E-3</c:v>
                </c:pt>
                <c:pt idx="5">
                  <c:v>1.335072022992722E-2</c:v>
                </c:pt>
                <c:pt idx="6">
                  <c:v>0.20974885772815974</c:v>
                </c:pt>
                <c:pt idx="7">
                  <c:v>0.10680264267358276</c:v>
                </c:pt>
                <c:pt idx="8">
                  <c:v>5.3849702939730822E-3</c:v>
                </c:pt>
                <c:pt idx="9">
                  <c:v>1.2408671581430282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tara</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5.6932347279614364E-7</c:v>
                </c:pt>
                <c:pt idx="1">
                  <c:v>2.3792966706217691E-2</c:v>
                </c:pt>
                <c:pt idx="2">
                  <c:v>3.1812117972593569E-2</c:v>
                </c:pt>
                <c:pt idx="4">
                  <c:v>2.1253269203768297E-3</c:v>
                </c:pt>
                <c:pt idx="5">
                  <c:v>0.1233043866264559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u Pera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1.1224575664137333E-3</c:v>
                </c:pt>
                <c:pt idx="2">
                  <c:v>2.8526376568739032E-3</c:v>
                </c:pt>
                <c:pt idx="3">
                  <c:v>5.1450610165164013E-3</c:v>
                </c:pt>
                <c:pt idx="4">
                  <c:v>5.7721799067503875E-2</c:v>
                </c:pt>
                <c:pt idx="5">
                  <c:v>1.2534031764833841E-2</c:v>
                </c:pt>
                <c:pt idx="6">
                  <c:v>8.6587668068377394E-2</c:v>
                </c:pt>
                <c:pt idx="8">
                  <c:v>1.842608151745492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3.9985537730199132E-2</c:v>
                </c:pt>
                <c:pt idx="1">
                  <c:v>1.0412338824070604E-2</c:v>
                </c:pt>
                <c:pt idx="2">
                  <c:v>9.7234029122930648E-3</c:v>
                </c:pt>
                <c:pt idx="3">
                  <c:v>3.5125707773553602E-2</c:v>
                </c:pt>
                <c:pt idx="4">
                  <c:v>1.1768146334738484E-2</c:v>
                </c:pt>
                <c:pt idx="5">
                  <c:v>6.7473014037106302E-2</c:v>
                </c:pt>
                <c:pt idx="6">
                  <c:v>6.2165447508902738E-2</c:v>
                </c:pt>
                <c:pt idx="7">
                  <c:v>1.0004969709386895E-2</c:v>
                </c:pt>
                <c:pt idx="8">
                  <c:v>2.3439762057674576E-2</c:v>
                </c:pt>
                <c:pt idx="9">
                  <c:v>1.0580180229157059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5.3220514636903894E-2</c:v>
                </c:pt>
                <c:pt idx="1">
                  <c:v>1.2441037528871992E-2</c:v>
                </c:pt>
                <c:pt idx="2">
                  <c:v>8.7624574801509106E-2</c:v>
                </c:pt>
                <c:pt idx="3">
                  <c:v>3.0282854374379737E-2</c:v>
                </c:pt>
                <c:pt idx="4">
                  <c:v>0.14027776593737548</c:v>
                </c:pt>
                <c:pt idx="5">
                  <c:v>0.28950622024873895</c:v>
                </c:pt>
                <c:pt idx="6">
                  <c:v>0.21798642705429877</c:v>
                </c:pt>
                <c:pt idx="7">
                  <c:v>5.6581598744397013E-2</c:v>
                </c:pt>
                <c:pt idx="8">
                  <c:v>9.882715982471646E-2</c:v>
                </c:pt>
                <c:pt idx="9">
                  <c:v>1.3251846848808615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1.3375518511576435E-3</c:v>
                </c:pt>
                <c:pt idx="1">
                  <c:v>2.1602037164684789E-5</c:v>
                </c:pt>
                <c:pt idx="2">
                  <c:v>9.2131917006053315E-3</c:v>
                </c:pt>
                <c:pt idx="3">
                  <c:v>3.275023134431676E-5</c:v>
                </c:pt>
                <c:pt idx="4">
                  <c:v>1.4103430013893581E-3</c:v>
                </c:pt>
                <c:pt idx="5">
                  <c:v>4.3140155444401931E-2</c:v>
                </c:pt>
                <c:pt idx="6">
                  <c:v>0.11246984924594039</c:v>
                </c:pt>
                <c:pt idx="7">
                  <c:v>4.5377856469198716E-2</c:v>
                </c:pt>
                <c:pt idx="8">
                  <c:v>1.7636134591646855E-3</c:v>
                </c:pt>
                <c:pt idx="9">
                  <c:v>6.1438893951009125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tara</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7.1180255460291005E-3</c:v>
                </c:pt>
                <c:pt idx="2">
                  <c:v>5.0127102914921035E-2</c:v>
                </c:pt>
                <c:pt idx="3">
                  <c:v>1.7280858230420521E-3</c:v>
                </c:pt>
                <c:pt idx="4">
                  <c:v>2.6365247784431421E-2</c:v>
                </c:pt>
                <c:pt idx="5">
                  <c:v>0.10079556831121561</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u Pera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1">
                  <c:v>2.1212428994393153E-4</c:v>
                </c:pt>
                <c:pt idx="2">
                  <c:v>9.317537255124032E-3</c:v>
                </c:pt>
                <c:pt idx="3">
                  <c:v>2.6069029849810682E-4</c:v>
                </c:pt>
                <c:pt idx="4">
                  <c:v>6.6651696969245763E-2</c:v>
                </c:pt>
                <c:pt idx="5">
                  <c:v>2.5915848261273244E-2</c:v>
                </c:pt>
                <c:pt idx="6">
                  <c:v>7.5755991257501265E-2</c:v>
                </c:pt>
                <c:pt idx="8">
                  <c:v>2.0739305805420192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4.4764937239717154E-2</c:v>
                </c:pt>
                <c:pt idx="1">
                  <c:v>1.2207311201763375E-2</c:v>
                </c:pt>
                <c:pt idx="2">
                  <c:v>1.8966742930858708E-2</c:v>
                </c:pt>
                <c:pt idx="3">
                  <c:v>2.8261328021495263E-2</c:v>
                </c:pt>
                <c:pt idx="4">
                  <c:v>4.5850478182308925E-2</c:v>
                </c:pt>
                <c:pt idx="5">
                  <c:v>0.11965464823184818</c:v>
                </c:pt>
                <c:pt idx="6">
                  <c:v>2.9760586550857119E-2</c:v>
                </c:pt>
                <c:pt idx="7">
                  <c:v>1.1203742275198304E-2</c:v>
                </c:pt>
                <c:pt idx="8">
                  <c:v>7.6324240560131568E-2</c:v>
                </c:pt>
                <c:pt idx="9">
                  <c:v>7.1079574537077023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5466252732939898E-2</c:v>
                </c:pt>
                <c:pt idx="1">
                  <c:v>9.9224733000987369E-3</c:v>
                </c:pt>
                <c:pt idx="2">
                  <c:v>1.6234090341292841E-2</c:v>
                </c:pt>
                <c:pt idx="3">
                  <c:v>7.892262515697393E-2</c:v>
                </c:pt>
                <c:pt idx="4">
                  <c:v>6.1134484543004734E-2</c:v>
                </c:pt>
                <c:pt idx="5">
                  <c:v>0.11702285157285876</c:v>
                </c:pt>
                <c:pt idx="6">
                  <c:v>0.12607050273798581</c:v>
                </c:pt>
                <c:pt idx="7">
                  <c:v>0.17930534937108047</c:v>
                </c:pt>
                <c:pt idx="8">
                  <c:v>0.228569980379285</c:v>
                </c:pt>
                <c:pt idx="9">
                  <c:v>0.10314664132259939</c:v>
                </c:pt>
                <c:pt idx="10">
                  <c:v>6.4204748541880435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1847693416567174E-2</c:v>
                </c:pt>
                <c:pt idx="1">
                  <c:v>8.6420771688770298E-2</c:v>
                </c:pt>
                <c:pt idx="2">
                  <c:v>1.497950272481768E-2</c:v>
                </c:pt>
                <c:pt idx="3">
                  <c:v>3.8435745481682639E-2</c:v>
                </c:pt>
                <c:pt idx="4">
                  <c:v>9.2213614362690738E-2</c:v>
                </c:pt>
                <c:pt idx="5">
                  <c:v>0.23543198442819935</c:v>
                </c:pt>
                <c:pt idx="6">
                  <c:v>0.18117729862300258</c:v>
                </c:pt>
                <c:pt idx="7">
                  <c:v>0.20368518910803779</c:v>
                </c:pt>
                <c:pt idx="8">
                  <c:v>9.7217979514334779E-2</c:v>
                </c:pt>
                <c:pt idx="9">
                  <c:v>2.8590220651896904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2">
                  <c:v>4.2428664933548254E-3</c:v>
                </c:pt>
                <c:pt idx="3">
                  <c:v>9.8194024376712114E-3</c:v>
                </c:pt>
                <c:pt idx="4">
                  <c:v>1.1778201192094651E-2</c:v>
                </c:pt>
                <c:pt idx="5">
                  <c:v>2.2363432229188829E-6</c:v>
                </c:pt>
                <c:pt idx="6">
                  <c:v>1.1011135466633473E-2</c:v>
                </c:pt>
                <c:pt idx="7">
                  <c:v>0.19000214688949399</c:v>
                </c:pt>
                <c:pt idx="8">
                  <c:v>4.5250168772540678E-2</c:v>
                </c:pt>
                <c:pt idx="9">
                  <c:v>1.8204166906954609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tara</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3.0456139789913159E-3</c:v>
                </c:pt>
                <c:pt idx="1">
                  <c:v>7.5389509133130556E-2</c:v>
                </c:pt>
                <c:pt idx="2">
                  <c:v>7.0250202079780166E-3</c:v>
                </c:pt>
                <c:pt idx="4">
                  <c:v>2.5381543944715312E-2</c:v>
                </c:pt>
                <c:pt idx="5">
                  <c:v>0.1567708003234799</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u Pera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3">
                  <c:v>5.3686511881263308E-3</c:v>
                </c:pt>
                <c:pt idx="4">
                  <c:v>3.5295110706602621E-2</c:v>
                </c:pt>
                <c:pt idx="6">
                  <c:v>0.12133356286779519</c:v>
                </c:pt>
                <c:pt idx="7">
                  <c:v>5.0100273823574029E-3</c:v>
                </c:pt>
                <c:pt idx="8">
                  <c:v>2.720587661513941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1.8802079437575857E-2</c:v>
                </c:pt>
                <c:pt idx="1">
                  <c:v>1.1031262555639744E-2</c:v>
                </c:pt>
                <c:pt idx="2">
                  <c:v>3.7116160234848396E-3</c:v>
                </c:pt>
                <c:pt idx="3">
                  <c:v>2.3247691855885096E-2</c:v>
                </c:pt>
                <c:pt idx="4">
                  <c:v>1.9758758519278136E-2</c:v>
                </c:pt>
                <c:pt idx="5">
                  <c:v>7.8658947761496567E-2</c:v>
                </c:pt>
                <c:pt idx="6">
                  <c:v>4.8832600288573919E-2</c:v>
                </c:pt>
                <c:pt idx="7">
                  <c:v>8.6730148361864323E-3</c:v>
                </c:pt>
                <c:pt idx="8">
                  <c:v>2.4761934126654679E-2</c:v>
                </c:pt>
                <c:pt idx="9">
                  <c:v>1.0386053744942296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3">
                  <c:v>0.3105</c:v>
                </c:pt>
                <c:pt idx="4">
                  <c:v>5.1999999999999998E-2</c:v>
                </c:pt>
                <c:pt idx="5">
                  <c:v>0.23300000000000001</c:v>
                </c:pt>
                <c:pt idx="6">
                  <c:v>8.7800000000000003E-2</c:v>
                </c:pt>
                <c:pt idx="7">
                  <c:v>0.22320000000000001</c:v>
                </c:pt>
                <c:pt idx="8">
                  <c:v>9.3200000000000005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8797801642155176E-2</c:v>
                </c:pt>
                <c:pt idx="1">
                  <c:v>1.5499323616429531E-2</c:v>
                </c:pt>
                <c:pt idx="2">
                  <c:v>2.0328229017232035E-2</c:v>
                </c:pt>
                <c:pt idx="3">
                  <c:v>4.4263789690257418E-2</c:v>
                </c:pt>
                <c:pt idx="4">
                  <c:v>6.5094507892549974E-2</c:v>
                </c:pt>
                <c:pt idx="5">
                  <c:v>0.10204826864942469</c:v>
                </c:pt>
                <c:pt idx="6">
                  <c:v>0.12638325694294628</c:v>
                </c:pt>
                <c:pt idx="7">
                  <c:v>0.17605578638733341</c:v>
                </c:pt>
                <c:pt idx="8">
                  <c:v>0.25472703021903487</c:v>
                </c:pt>
                <c:pt idx="9">
                  <c:v>9.8964213929595687E-2</c:v>
                </c:pt>
                <c:pt idx="10">
                  <c:v>7.7837792013041002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1.7153555707729703E-8</c:v>
                </c:pt>
                <c:pt idx="2">
                  <c:v>8.5982197984995141E-8</c:v>
                </c:pt>
                <c:pt idx="3">
                  <c:v>9.5278616817271906E-3</c:v>
                </c:pt>
                <c:pt idx="4">
                  <c:v>1.594827612528732E-3</c:v>
                </c:pt>
                <c:pt idx="5">
                  <c:v>7.1509014008266014E-3</c:v>
                </c:pt>
                <c:pt idx="6">
                  <c:v>2.6931181094080954E-3</c:v>
                </c:pt>
                <c:pt idx="7">
                  <c:v>6.8503991937746483E-3</c:v>
                </c:pt>
                <c:pt idx="8">
                  <c:v>2.8598150772591348E-3</c:v>
                </c:pt>
                <c:pt idx="9">
                  <c:v>3.8514020952780121E-6</c:v>
                </c:pt>
                <c:pt idx="10">
                  <c:v>6.6165552753640403E-6</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4.0398617792554474E-4</c:v>
                </c:pt>
                <c:pt idx="1">
                  <c:v>1.5023688751668372E-3</c:v>
                </c:pt>
                <c:pt idx="2">
                  <c:v>3.6224347183356647E-3</c:v>
                </c:pt>
                <c:pt idx="3">
                  <c:v>5.4616108723709719E-3</c:v>
                </c:pt>
                <c:pt idx="4">
                  <c:v>1.2016856337763338E-2</c:v>
                </c:pt>
                <c:pt idx="5">
                  <c:v>1.6731930957308794E-2</c:v>
                </c:pt>
                <c:pt idx="6">
                  <c:v>3.3011185583235098E-2</c:v>
                </c:pt>
                <c:pt idx="7">
                  <c:v>5.9070991134438602E-2</c:v>
                </c:pt>
                <c:pt idx="8">
                  <c:v>0.11395084842790201</c:v>
                </c:pt>
                <c:pt idx="9">
                  <c:v>7.0066503966677421E-2</c:v>
                </c:pt>
                <c:pt idx="10">
                  <c:v>6.4885784713214989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3.3378675212778537E-5</c:v>
                </c:pt>
                <c:pt idx="1">
                  <c:v>1.6486775555425614E-4</c:v>
                </c:pt>
                <c:pt idx="2">
                  <c:v>4.2300239536368755E-4</c:v>
                </c:pt>
                <c:pt idx="3">
                  <c:v>3.4460464203486509E-4</c:v>
                </c:pt>
                <c:pt idx="4">
                  <c:v>6.4430406267969634E-4</c:v>
                </c:pt>
                <c:pt idx="5">
                  <c:v>2.331756587641242E-2</c:v>
                </c:pt>
                <c:pt idx="6">
                  <c:v>1.0331067707705442E-2</c:v>
                </c:pt>
                <c:pt idx="7">
                  <c:v>3.5510508395162868E-3</c:v>
                </c:pt>
                <c:pt idx="8">
                  <c:v>1.4281102748302898E-3</c:v>
                </c:pt>
                <c:pt idx="10">
                  <c:v>9.7770979145132382E-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oign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6.2043767736519298E-5</c:v>
                </c:pt>
                <c:pt idx="2">
                  <c:v>1.3890327595725109E-4</c:v>
                </c:pt>
                <c:pt idx="3">
                  <c:v>4.5028083732790472E-8</c:v>
                </c:pt>
                <c:pt idx="4">
                  <c:v>5.6800483247226828E-3</c:v>
                </c:pt>
                <c:pt idx="5">
                  <c:v>6.8682837053749736E-5</c:v>
                </c:pt>
                <c:pt idx="6">
                  <c:v>1.348149854018438E-2</c:v>
                </c:pt>
                <c:pt idx="7">
                  <c:v>3.9143745136366584E-3</c:v>
                </c:pt>
                <c:pt idx="8">
                  <c:v>1.976473814294425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1.8298375867724623E-2</c:v>
                </c:pt>
                <c:pt idx="1">
                  <c:v>1.3832086985708439E-2</c:v>
                </c:pt>
                <c:pt idx="2">
                  <c:v>1.6143802645377448E-2</c:v>
                </c:pt>
                <c:pt idx="3">
                  <c:v>2.892966746604066E-2</c:v>
                </c:pt>
                <c:pt idx="4">
                  <c:v>4.5158471554855514E-2</c:v>
                </c:pt>
                <c:pt idx="5">
                  <c:v>5.4779187577823109E-2</c:v>
                </c:pt>
                <c:pt idx="6">
                  <c:v>6.6866387002413263E-2</c:v>
                </c:pt>
                <c:pt idx="7">
                  <c:v>0.10266897070596721</c:v>
                </c:pt>
                <c:pt idx="8">
                  <c:v>0.11672351829609916</c:v>
                </c:pt>
                <c:pt idx="9">
                  <c:v>2.889385856082299E-2</c:v>
                </c:pt>
                <c:pt idx="10">
                  <c:v>1.2935613646636122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3">
                  <c:v>0.41799999999999998</c:v>
                </c:pt>
                <c:pt idx="4">
                  <c:v>0.10249999999999999</c:v>
                </c:pt>
                <c:pt idx="5">
                  <c:v>0.1429</c:v>
                </c:pt>
                <c:pt idx="6">
                  <c:v>7.1800000000000003E-2</c:v>
                </c:pt>
                <c:pt idx="7">
                  <c:v>0.1661</c:v>
                </c:pt>
                <c:pt idx="8">
                  <c:v>5.1700000000000003E-2</c:v>
                </c:pt>
                <c:pt idx="9">
                  <c:v>4.6300000000000001E-2</c:v>
                </c:pt>
                <c:pt idx="10">
                  <c:v>5.0000000000000001E-4</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3933771819624458E-2</c:v>
                </c:pt>
                <c:pt idx="1">
                  <c:v>2.1306896673764057E-2</c:v>
                </c:pt>
                <c:pt idx="2">
                  <c:v>2.5548831278795543E-2</c:v>
                </c:pt>
                <c:pt idx="3">
                  <c:v>5.7767970366862181E-2</c:v>
                </c:pt>
                <c:pt idx="4">
                  <c:v>7.3278076667783243E-2</c:v>
                </c:pt>
                <c:pt idx="5">
                  <c:v>0.11719239595450313</c:v>
                </c:pt>
                <c:pt idx="6">
                  <c:v>0.13363631496397968</c:v>
                </c:pt>
                <c:pt idx="7">
                  <c:v>0.18577181469164547</c:v>
                </c:pt>
                <c:pt idx="8">
                  <c:v>0.2060222230819663</c:v>
                </c:pt>
                <c:pt idx="9">
                  <c:v>0.13022682695731488</c:v>
                </c:pt>
                <c:pt idx="10">
                  <c:v>2.5314877543761053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2.5956247769890692E-6</c:v>
                </c:pt>
                <c:pt idx="1">
                  <c:v>6.0844756734639851E-7</c:v>
                </c:pt>
                <c:pt idx="2">
                  <c:v>4.2189879772905938E-6</c:v>
                </c:pt>
                <c:pt idx="3">
                  <c:v>1.5979041231933649E-2</c:v>
                </c:pt>
                <c:pt idx="4">
                  <c:v>3.917576852268922E-3</c:v>
                </c:pt>
                <c:pt idx="5">
                  <c:v>5.4622746820334241E-3</c:v>
                </c:pt>
                <c:pt idx="6">
                  <c:v>2.7437736051859835E-3</c:v>
                </c:pt>
                <c:pt idx="7">
                  <c:v>6.3472823685013615E-3</c:v>
                </c:pt>
                <c:pt idx="8">
                  <c:v>1.9746707894388021E-3</c:v>
                </c:pt>
                <c:pt idx="9">
                  <c:v>1.7712159591666999E-3</c:v>
                </c:pt>
                <c:pt idx="10">
                  <c:v>2.0280749224168819E-5</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1.4571967969247569E-3</c:v>
                </c:pt>
                <c:pt idx="1">
                  <c:v>2.0602900256785073E-3</c:v>
                </c:pt>
                <c:pt idx="2">
                  <c:v>4.4247749808156798E-3</c:v>
                </c:pt>
                <c:pt idx="3">
                  <c:v>7.010573015959338E-3</c:v>
                </c:pt>
                <c:pt idx="4">
                  <c:v>9.7034678592044961E-3</c:v>
                </c:pt>
                <c:pt idx="5">
                  <c:v>3.1744045664047635E-2</c:v>
                </c:pt>
                <c:pt idx="6">
                  <c:v>3.5501116557112716E-2</c:v>
                </c:pt>
                <c:pt idx="7">
                  <c:v>4.9095537610288759E-2</c:v>
                </c:pt>
                <c:pt idx="8">
                  <c:v>7.8669112803194455E-2</c:v>
                </c:pt>
                <c:pt idx="9">
                  <c:v>9.6870314949811021E-2</c:v>
                </c:pt>
                <c:pt idx="10">
                  <c:v>1.6577214189843828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4.1399525200888969E-8</c:v>
                </c:pt>
                <c:pt idx="1">
                  <c:v>2.2406803022894474E-4</c:v>
                </c:pt>
                <c:pt idx="2">
                  <c:v>1.0817031033526941E-3</c:v>
                </c:pt>
                <c:pt idx="3">
                  <c:v>5.6771419814192385E-4</c:v>
                </c:pt>
                <c:pt idx="4">
                  <c:v>5.1141774378958161E-3</c:v>
                </c:pt>
                <c:pt idx="5">
                  <c:v>2.0864599200890559E-2</c:v>
                </c:pt>
                <c:pt idx="6">
                  <c:v>8.1406571098990698E-3</c:v>
                </c:pt>
                <c:pt idx="7">
                  <c:v>3.6307872868295635E-3</c:v>
                </c:pt>
                <c:pt idx="8">
                  <c:v>1.1776596755819545E-3</c:v>
                </c:pt>
                <c:pt idx="9">
                  <c:v>6.3102912654688339E-7</c:v>
                </c:pt>
                <c:pt idx="10">
                  <c:v>7.611239981630102E-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Apericub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3.7004902874261269E-5</c:v>
                </c:pt>
                <c:pt idx="1">
                  <c:v>5.3670093564219123E-5</c:v>
                </c:pt>
                <c:pt idx="2">
                  <c:v>1.5478253757137696E-3</c:v>
                </c:pt>
                <c:pt idx="3">
                  <c:v>6.7770596213292565E-3</c:v>
                </c:pt>
                <c:pt idx="4">
                  <c:v>1.5370485774915517E-2</c:v>
                </c:pt>
                <c:pt idx="5">
                  <c:v>5.0589968889272984E-4</c:v>
                </c:pt>
                <c:pt idx="6">
                  <c:v>2.4084111059063823E-4</c:v>
                </c:pt>
                <c:pt idx="7">
                  <c:v>1.7322878601671973E-3</c:v>
                </c:pt>
                <c:pt idx="8">
                  <c:v>3.1777610642737025E-3</c:v>
                </c:pt>
                <c:pt idx="9">
                  <c:v>2.1165319079294483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2436933095523255E-2</c:v>
                </c:pt>
                <c:pt idx="1">
                  <c:v>1.8968260076725037E-2</c:v>
                </c:pt>
                <c:pt idx="2">
                  <c:v>1.8490308830936109E-2</c:v>
                </c:pt>
                <c:pt idx="3">
                  <c:v>2.7433582299498015E-2</c:v>
                </c:pt>
                <c:pt idx="4">
                  <c:v>3.9172368743498477E-2</c:v>
                </c:pt>
                <c:pt idx="5">
                  <c:v>5.8615576718638783E-2</c:v>
                </c:pt>
                <c:pt idx="6">
                  <c:v>8.7009926581191291E-2</c:v>
                </c:pt>
                <c:pt idx="7">
                  <c:v>0.12496591956585859</c:v>
                </c:pt>
                <c:pt idx="8">
                  <c:v>0.12102301874947739</c:v>
                </c:pt>
                <c:pt idx="9">
                  <c:v>3.1373011828417667E-2</c:v>
                </c:pt>
                <c:pt idx="10">
                  <c:v>8.7097713647114241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3299999999999999E-2</c:v>
                </c:pt>
                <c:pt idx="2">
                  <c:v>5.3400000000000003E-2</c:v>
                </c:pt>
                <c:pt idx="3">
                  <c:v>0.26860000000000001</c:v>
                </c:pt>
                <c:pt idx="4">
                  <c:v>0.15590000000000001</c:v>
                </c:pt>
                <c:pt idx="5">
                  <c:v>0.1182</c:v>
                </c:pt>
                <c:pt idx="6">
                  <c:v>3.5499999999999997E-2</c:v>
                </c:pt>
                <c:pt idx="7">
                  <c:v>0.30740000000000001</c:v>
                </c:pt>
                <c:pt idx="8">
                  <c:v>4.7600000000000003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5466252732939898E-2</c:v>
                </c:pt>
                <c:pt idx="1">
                  <c:v>9.9224733000987369E-3</c:v>
                </c:pt>
                <c:pt idx="2">
                  <c:v>1.6234090341292841E-2</c:v>
                </c:pt>
                <c:pt idx="3">
                  <c:v>7.892262515697393E-2</c:v>
                </c:pt>
                <c:pt idx="4">
                  <c:v>6.1134484543004734E-2</c:v>
                </c:pt>
                <c:pt idx="5">
                  <c:v>0.11702285157285876</c:v>
                </c:pt>
                <c:pt idx="6">
                  <c:v>0.12607050273798581</c:v>
                </c:pt>
                <c:pt idx="7">
                  <c:v>0.17930534937108047</c:v>
                </c:pt>
                <c:pt idx="8">
                  <c:v>0.228569980379285</c:v>
                </c:pt>
                <c:pt idx="9">
                  <c:v>0.10314664132259939</c:v>
                </c:pt>
                <c:pt idx="10">
                  <c:v>6.4204748541880435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9.2581137021074893E-5</c:v>
                </c:pt>
                <c:pt idx="1">
                  <c:v>2.1484324270327876E-3</c:v>
                </c:pt>
                <c:pt idx="2">
                  <c:v>3.8309291876119076E-3</c:v>
                </c:pt>
                <c:pt idx="4">
                  <c:v>2.3747051887511674E-5</c:v>
                </c:pt>
                <c:pt idx="5">
                  <c:v>4.6415004298491257E-3</c:v>
                </c:pt>
                <c:pt idx="6">
                  <c:v>3.56517233722336E-3</c:v>
                </c:pt>
                <c:pt idx="7">
                  <c:v>5.9789257397110706E-3</c:v>
                </c:pt>
                <c:pt idx="8">
                  <c:v>7.6923045646172961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4.1297523561927022E-5</c:v>
                </c:pt>
                <c:pt idx="1">
                  <c:v>1.9950223407859868E-4</c:v>
                </c:pt>
                <c:pt idx="2">
                  <c:v>2.6655053310350582E-3</c:v>
                </c:pt>
                <c:pt idx="3">
                  <c:v>1.8660401170506352E-2</c:v>
                </c:pt>
                <c:pt idx="4">
                  <c:v>8.270136482688031E-3</c:v>
                </c:pt>
                <c:pt idx="5">
                  <c:v>1.4405643786707724E-2</c:v>
                </c:pt>
                <c:pt idx="6">
                  <c:v>2.3493723978327451E-2</c:v>
                </c:pt>
                <c:pt idx="7">
                  <c:v>5.3481634791875496E-2</c:v>
                </c:pt>
                <c:pt idx="8">
                  <c:v>6.7868334282960602E-2</c:v>
                </c:pt>
                <c:pt idx="9">
                  <c:v>7.0802280022744218E-2</c:v>
                </c:pt>
                <c:pt idx="10">
                  <c:v>5.3710851335794847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7.4163794676428485E-7</c:v>
                </c:pt>
                <c:pt idx="1">
                  <c:v>1.274120981348993E-5</c:v>
                </c:pt>
                <c:pt idx="2">
                  <c:v>7.5412706473183518E-4</c:v>
                </c:pt>
                <c:pt idx="3">
                  <c:v>8.6616806586044227E-4</c:v>
                </c:pt>
                <c:pt idx="4">
                  <c:v>4.0855891175820939E-3</c:v>
                </c:pt>
                <c:pt idx="5">
                  <c:v>2.4586747056750444E-2</c:v>
                </c:pt>
                <c:pt idx="6">
                  <c:v>1.0084142240498322E-2</c:v>
                </c:pt>
                <c:pt idx="7">
                  <c:v>6.8016234129374869E-3</c:v>
                </c:pt>
                <c:pt idx="8">
                  <c:v>6.3994084331423233E-4</c:v>
                </c:pt>
                <c:pt idx="9">
                  <c:v>2.6152496017477414E-6</c:v>
                </c:pt>
                <c:pt idx="10">
                  <c:v>1.4800230955164457E-7</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oign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3">
                  <c:v>3.3661092308763979E-4</c:v>
                </c:pt>
                <c:pt idx="4">
                  <c:v>6.7944331029316865E-3</c:v>
                </c:pt>
                <c:pt idx="5">
                  <c:v>2.3475931173201135E-4</c:v>
                </c:pt>
                <c:pt idx="6">
                  <c:v>1.9983159614131631E-2</c:v>
                </c:pt>
                <c:pt idx="7">
                  <c:v>4.1791070604306601E-3</c:v>
                </c:pt>
                <c:pt idx="8">
                  <c:v>2.233375831681494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1.5331632434410134E-2</c:v>
                </c:pt>
                <c:pt idx="1">
                  <c:v>7.5617974291738608E-3</c:v>
                </c:pt>
                <c:pt idx="2">
                  <c:v>8.9835287579140381E-3</c:v>
                </c:pt>
                <c:pt idx="3">
                  <c:v>5.90594449975195E-2</c:v>
                </c:pt>
                <c:pt idx="4">
                  <c:v>4.1960578787915405E-2</c:v>
                </c:pt>
                <c:pt idx="5">
                  <c:v>7.3154200987819454E-2</c:v>
                </c:pt>
                <c:pt idx="6">
                  <c:v>6.8944304567805037E-2</c:v>
                </c:pt>
                <c:pt idx="7">
                  <c:v>0.10886405836612574</c:v>
                </c:pt>
                <c:pt idx="8">
                  <c:v>0.13003564237157794</c:v>
                </c:pt>
                <c:pt idx="9">
                  <c:v>3.2341746050253417E-2</c:v>
                </c:pt>
                <c:pt idx="10">
                  <c:v>1.0493749203776036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4.8860278940115456E-4</c:v>
                </c:pt>
                <c:pt idx="2">
                  <c:v>1.9587585221478221E-3</c:v>
                </c:pt>
                <c:pt idx="3">
                  <c:v>9.8555095738221445E-3</c:v>
                </c:pt>
                <c:pt idx="4">
                  <c:v>5.7194093823087827E-3</c:v>
                </c:pt>
                <c:pt idx="5">
                  <c:v>4.3375085652270651E-3</c:v>
                </c:pt>
                <c:pt idx="6">
                  <c:v>1.3018803595844597E-3</c:v>
                </c:pt>
                <c:pt idx="7">
                  <c:v>1.1278574549747292E-2</c:v>
                </c:pt>
                <c:pt idx="8">
                  <c:v>1.7463101519809695E-3</c:v>
                </c:pt>
                <c:pt idx="9">
                  <c:v>1.6426629961226484E-7</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4.1297523561927022E-5</c:v>
                </c:pt>
                <c:pt idx="1">
                  <c:v>1.9950223407859868E-4</c:v>
                </c:pt>
                <c:pt idx="2">
                  <c:v>2.6655053310350582E-3</c:v>
                </c:pt>
                <c:pt idx="3">
                  <c:v>1.8660401170506352E-2</c:v>
                </c:pt>
                <c:pt idx="4">
                  <c:v>8.270136482688031E-3</c:v>
                </c:pt>
                <c:pt idx="5">
                  <c:v>1.4405643786707724E-2</c:v>
                </c:pt>
                <c:pt idx="6">
                  <c:v>2.3493723978327451E-2</c:v>
                </c:pt>
                <c:pt idx="7">
                  <c:v>5.3481634791875496E-2</c:v>
                </c:pt>
                <c:pt idx="8">
                  <c:v>6.7868334282960602E-2</c:v>
                </c:pt>
                <c:pt idx="9">
                  <c:v>7.0802280022744218E-2</c:v>
                </c:pt>
                <c:pt idx="10">
                  <c:v>5.3710851335794847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7.4163794676428485E-7</c:v>
                </c:pt>
                <c:pt idx="1">
                  <c:v>1.274120981348993E-5</c:v>
                </c:pt>
                <c:pt idx="2">
                  <c:v>7.5412706473183518E-4</c:v>
                </c:pt>
                <c:pt idx="3">
                  <c:v>8.6616806586044227E-4</c:v>
                </c:pt>
                <c:pt idx="4">
                  <c:v>4.0855891175820939E-3</c:v>
                </c:pt>
                <c:pt idx="5">
                  <c:v>2.4586747056750444E-2</c:v>
                </c:pt>
                <c:pt idx="6">
                  <c:v>1.0084142240498322E-2</c:v>
                </c:pt>
                <c:pt idx="7">
                  <c:v>6.8016234129374869E-3</c:v>
                </c:pt>
                <c:pt idx="8">
                  <c:v>6.3994084331423233E-4</c:v>
                </c:pt>
                <c:pt idx="9">
                  <c:v>2.6152496017477414E-6</c:v>
                </c:pt>
                <c:pt idx="10">
                  <c:v>1.4800230955164457E-7</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oign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3">
                  <c:v>3.3661092308763979E-4</c:v>
                </c:pt>
                <c:pt idx="4">
                  <c:v>6.7944331029316865E-3</c:v>
                </c:pt>
                <c:pt idx="5">
                  <c:v>2.3475931173201135E-4</c:v>
                </c:pt>
                <c:pt idx="6">
                  <c:v>1.9983159614131631E-2</c:v>
                </c:pt>
                <c:pt idx="7">
                  <c:v>4.1791070604306601E-3</c:v>
                </c:pt>
                <c:pt idx="8">
                  <c:v>2.233375831681494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1.4935610782030054E-2</c:v>
                </c:pt>
                <c:pt idx="1">
                  <c:v>9.710229856206648E-3</c:v>
                </c:pt>
                <c:pt idx="2">
                  <c:v>1.0855699423378124E-2</c:v>
                </c:pt>
                <c:pt idx="3">
                  <c:v>4.9203935423697352E-2</c:v>
                </c:pt>
                <c:pt idx="4">
                  <c:v>3.6264916457494134E-2</c:v>
                </c:pt>
                <c:pt idx="5">
                  <c:v>7.3458192852441526E-2</c:v>
                </c:pt>
                <c:pt idx="6">
                  <c:v>7.1207596545443938E-2</c:v>
                </c:pt>
                <c:pt idx="7">
                  <c:v>0.10356440955608952</c:v>
                </c:pt>
                <c:pt idx="8">
                  <c:v>0.13598163678421427</c:v>
                </c:pt>
                <c:pt idx="9">
                  <c:v>3.2341581783953806E-2</c:v>
                </c:pt>
                <c:pt idx="10">
                  <c:v>1.0493749203776036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3">
                  <c:v>0.3105</c:v>
                </c:pt>
                <c:pt idx="4">
                  <c:v>5.1999999999999998E-2</c:v>
                </c:pt>
                <c:pt idx="5">
                  <c:v>0.23300000000000001</c:v>
                </c:pt>
                <c:pt idx="6">
                  <c:v>8.7800000000000003E-2</c:v>
                </c:pt>
                <c:pt idx="7">
                  <c:v>0.22320000000000001</c:v>
                </c:pt>
                <c:pt idx="8">
                  <c:v>9.3200000000000005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87891005521236E-2</c:v>
                </c:pt>
                <c:pt idx="1">
                  <c:v>1.6251035103638078E-2</c:v>
                </c:pt>
                <c:pt idx="2">
                  <c:v>2.1266939372631518E-2</c:v>
                </c:pt>
                <c:pt idx="3">
                  <c:v>3.9450724674471832E-2</c:v>
                </c:pt>
                <c:pt idx="4">
                  <c:v>5.1534564696052484E-2</c:v>
                </c:pt>
                <c:pt idx="5">
                  <c:v>0.10248226676541282</c:v>
                </c:pt>
                <c:pt idx="6">
                  <c:v>0.13074905745117735</c:v>
                </c:pt>
                <c:pt idx="7">
                  <c:v>0.17785855434784298</c:v>
                </c:pt>
                <c:pt idx="8">
                  <c:v>0.25638873725251132</c:v>
                </c:pt>
                <c:pt idx="9">
                  <c:v>0.10346326897165924</c:v>
                </c:pt>
                <c:pt idx="10">
                  <c:v>8.1765750812478777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1.8019920255996392E-8</c:v>
                </c:pt>
                <c:pt idx="2">
                  <c:v>9.0324850283181916E-8</c:v>
                </c:pt>
                <c:pt idx="3">
                  <c:v>1.000907978731899E-2</c:v>
                </c:pt>
                <c:pt idx="4">
                  <c:v>1.6753766326639032E-3</c:v>
                </c:pt>
                <c:pt idx="5">
                  <c:v>7.5120677716586882E-3</c:v>
                </c:pt>
                <c:pt idx="6">
                  <c:v>2.8291378416455807E-3</c:v>
                </c:pt>
                <c:pt idx="7">
                  <c:v>7.1963882763930506E-3</c:v>
                </c:pt>
                <c:pt idx="8">
                  <c:v>3.0042540751993346E-3</c:v>
                </c:pt>
                <c:pt idx="9">
                  <c:v>4.0459225954775898E-6</c:v>
                </c:pt>
                <c:pt idx="10">
                  <c:v>6.9507337407442084E-6</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4.1504876877430734E-4</c:v>
                </c:pt>
                <c:pt idx="1">
                  <c:v>1.5782481362390664E-3</c:v>
                </c:pt>
                <c:pt idx="2">
                  <c:v>3.8053908979085245E-3</c:v>
                </c:pt>
                <c:pt idx="3">
                  <c:v>5.6844741696043454E-3</c:v>
                </c:pt>
                <c:pt idx="4">
                  <c:v>1.2580806897340717E-2</c:v>
                </c:pt>
                <c:pt idx="5">
                  <c:v>1.7577000752309144E-2</c:v>
                </c:pt>
                <c:pt idx="6">
                  <c:v>3.4004399743729707E-2</c:v>
                </c:pt>
                <c:pt idx="7">
                  <c:v>5.9836479134632976E-2</c:v>
                </c:pt>
                <c:pt idx="8">
                  <c:v>0.11951646742528879</c:v>
                </c:pt>
                <c:pt idx="9">
                  <c:v>7.3474756220324428E-2</c:v>
                </c:pt>
                <c:pt idx="10">
                  <c:v>6.8159584098438503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3.5064512328136981E-5</c:v>
                </c:pt>
                <c:pt idx="1">
                  <c:v>1.7319463430745495E-4</c:v>
                </c:pt>
                <c:pt idx="2">
                  <c:v>4.4436672853280707E-4</c:v>
                </c:pt>
                <c:pt idx="3">
                  <c:v>3.6200938599081396E-4</c:v>
                </c:pt>
                <c:pt idx="4">
                  <c:v>6.7684554898847092E-4</c:v>
                </c:pt>
                <c:pt idx="5">
                  <c:v>2.4495252460546905E-2</c:v>
                </c:pt>
                <c:pt idx="6">
                  <c:v>1.0852852867598883E-2</c:v>
                </c:pt>
                <c:pt idx="7">
                  <c:v>3.7304016755102054E-3</c:v>
                </c:pt>
                <c:pt idx="8">
                  <c:v>1.5002390004548454E-3</c:v>
                </c:pt>
                <c:pt idx="10">
                  <c:v>1.0270904047911544E-5</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oign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6.5177375818929352E-5</c:v>
                </c:pt>
                <c:pt idx="2">
                  <c:v>1.4591878201196599E-4</c:v>
                </c:pt>
                <c:pt idx="3">
                  <c:v>4.7302290671990534E-8</c:v>
                </c:pt>
                <c:pt idx="4">
                  <c:v>5.966927184407958E-3</c:v>
                </c:pt>
                <c:pt idx="5">
                  <c:v>5.7078097410868578E-7</c:v>
                </c:pt>
                <c:pt idx="6">
                  <c:v>1.4162400657024312E-2</c:v>
                </c:pt>
                <c:pt idx="7">
                  <c:v>4.1120755247293786E-3</c:v>
                </c:pt>
                <c:pt idx="8">
                  <c:v>2.0762984146547182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1.8273791875281969E-2</c:v>
                </c:pt>
                <c:pt idx="1">
                  <c:v>1.4499592333091558E-2</c:v>
                </c:pt>
                <c:pt idx="2">
                  <c:v>1.6871172639327942E-2</c:v>
                </c:pt>
                <c:pt idx="3">
                  <c:v>2.3395114029267007E-2</c:v>
                </c:pt>
                <c:pt idx="4">
                  <c:v>3.0634608432651436E-2</c:v>
                </c:pt>
                <c:pt idx="5">
                  <c:v>5.2897374999923981E-2</c:v>
                </c:pt>
                <c:pt idx="6">
                  <c:v>6.8900266341178851E-2</c:v>
                </c:pt>
                <c:pt idx="7">
                  <c:v>0.10298320973657737</c:v>
                </c:pt>
                <c:pt idx="8">
                  <c:v>0.11160479260502117</c:v>
                </c:pt>
                <c:pt idx="9">
                  <c:v>2.9984466828739332E-2</c:v>
                </c:pt>
                <c:pt idx="10">
                  <c:v>1.358894507625163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3">
                  <c:v>0.41799999999999998</c:v>
                </c:pt>
                <c:pt idx="4">
                  <c:v>0.10249999999999999</c:v>
                </c:pt>
                <c:pt idx="5">
                  <c:v>0.1429</c:v>
                </c:pt>
                <c:pt idx="6">
                  <c:v>7.1800000000000003E-2</c:v>
                </c:pt>
                <c:pt idx="7">
                  <c:v>0.1661</c:v>
                </c:pt>
                <c:pt idx="8">
                  <c:v>5.1700000000000003E-2</c:v>
                </c:pt>
                <c:pt idx="9">
                  <c:v>4.6300000000000001E-2</c:v>
                </c:pt>
                <c:pt idx="10">
                  <c:v>5.0000000000000001E-4</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398673961529265E-2</c:v>
                </c:pt>
                <c:pt idx="1">
                  <c:v>2.2440013185811045E-2</c:v>
                </c:pt>
                <c:pt idx="2">
                  <c:v>2.5308299426034544E-2</c:v>
                </c:pt>
                <c:pt idx="3">
                  <c:v>5.3762350004310372E-2</c:v>
                </c:pt>
                <c:pt idx="4">
                  <c:v>6.0479768899024261E-2</c:v>
                </c:pt>
                <c:pt idx="5">
                  <c:v>0.11906086687087766</c:v>
                </c:pt>
                <c:pt idx="6">
                  <c:v>0.13389055283916435</c:v>
                </c:pt>
                <c:pt idx="7">
                  <c:v>0.18936383046379759</c:v>
                </c:pt>
                <c:pt idx="8">
                  <c:v>0.20795372780999538</c:v>
                </c:pt>
                <c:pt idx="9">
                  <c:v>0.13703616353638812</c:v>
                </c:pt>
                <c:pt idx="10">
                  <c:v>2.671768734930402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2.7415229367946326E-6</c:v>
                </c:pt>
                <c:pt idx="1">
                  <c:v>6.426479576343146E-7</c:v>
                </c:pt>
                <c:pt idx="2">
                  <c:v>4.4561341887096903E-6</c:v>
                </c:pt>
                <c:pt idx="3">
                  <c:v>1.687721138806102E-2</c:v>
                </c:pt>
                <c:pt idx="4">
                  <c:v>4.1377809660183397E-3</c:v>
                </c:pt>
                <c:pt idx="5">
                  <c:v>5.7693051247716251E-3</c:v>
                </c:pt>
                <c:pt idx="6">
                  <c:v>2.8979991016709087E-3</c:v>
                </c:pt>
                <c:pt idx="7">
                  <c:v>6.704058442431768E-3</c:v>
                </c:pt>
                <c:pt idx="8">
                  <c:v>2.0856655822744283E-3</c:v>
                </c:pt>
                <c:pt idx="9">
                  <c:v>1.8707747056201961E-3</c:v>
                </c:pt>
                <c:pt idx="10">
                  <c:v>2.1420715222920265E-5</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1.5391047572087941E-3</c:v>
                </c:pt>
                <c:pt idx="1">
                  <c:v>2.1760974128159269E-3</c:v>
                </c:pt>
                <c:pt idx="2">
                  <c:v>4.6734883283602981E-3</c:v>
                </c:pt>
                <c:pt idx="3">
                  <c:v>7.4046321693773025E-3</c:v>
                </c:pt>
                <c:pt idx="4">
                  <c:v>1.024889265131663E-2</c:v>
                </c:pt>
                <c:pt idx="5">
                  <c:v>3.3528355125194316E-2</c:v>
                </c:pt>
                <c:pt idx="6">
                  <c:v>3.4686229188508416E-2</c:v>
                </c:pt>
                <c:pt idx="7">
                  <c:v>5.1855161672868022E-2</c:v>
                </c:pt>
                <c:pt idx="8">
                  <c:v>8.3091045777973854E-2</c:v>
                </c:pt>
                <c:pt idx="9">
                  <c:v>0.10231532411148089</c:v>
                </c:pt>
                <c:pt idx="10">
                  <c:v>1.7488886364232032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4.3726562065839961E-8</c:v>
                </c:pt>
                <c:pt idx="1">
                  <c:v>2.3666272942101448E-4</c:v>
                </c:pt>
                <c:pt idx="2">
                  <c:v>1.1425048392716256E-3</c:v>
                </c:pt>
                <c:pt idx="3">
                  <c:v>5.9962499570353405E-4</c:v>
                </c:pt>
                <c:pt idx="4">
                  <c:v>5.4016415905433594E-3</c:v>
                </c:pt>
                <c:pt idx="5">
                  <c:v>2.2037382977450795E-2</c:v>
                </c:pt>
                <c:pt idx="6">
                  <c:v>8.5982374591358716E-3</c:v>
                </c:pt>
                <c:pt idx="7">
                  <c:v>3.8348711700202424E-3</c:v>
                </c:pt>
                <c:pt idx="8">
                  <c:v>1.2438550598562307E-3</c:v>
                </c:pt>
                <c:pt idx="9">
                  <c:v>6.6649880967022722E-7</c:v>
                </c:pt>
                <c:pt idx="10">
                  <c:v>8.0390621834379105E-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oign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1.1876399266549199E-5</c:v>
                </c:pt>
                <c:pt idx="2">
                  <c:v>3.7273581542790242E-6</c:v>
                </c:pt>
                <c:pt idx="3">
                  <c:v>2.2684810380823638E-6</c:v>
                </c:pt>
                <c:pt idx="4">
                  <c:v>5.8254288297067977E-3</c:v>
                </c:pt>
                <c:pt idx="5">
                  <c:v>2.8816122412749011E-3</c:v>
                </c:pt>
                <c:pt idx="6">
                  <c:v>1.3929193074528797E-2</c:v>
                </c:pt>
                <c:pt idx="7">
                  <c:v>8.9317796994320929E-3</c:v>
                </c:pt>
                <c:pt idx="8">
                  <c:v>1.400585368811422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2432973209318443E-2</c:v>
                </c:pt>
                <c:pt idx="1">
                  <c:v>2.002661039561647E-2</c:v>
                </c:pt>
                <c:pt idx="2">
                  <c:v>1.9484122766059632E-2</c:v>
                </c:pt>
                <c:pt idx="3">
                  <c:v>2.8878612970130439E-2</c:v>
                </c:pt>
                <c:pt idx="4">
                  <c:v>3.4866024861439138E-2</c:v>
                </c:pt>
                <c:pt idx="5">
                  <c:v>5.4844211402186024E-2</c:v>
                </c:pt>
                <c:pt idx="6">
                  <c:v>7.3778894015320354E-2</c:v>
                </c:pt>
                <c:pt idx="7">
                  <c:v>0.11803795947904545</c:v>
                </c:pt>
                <c:pt idx="8">
                  <c:v>0.10752730770177668</c:v>
                </c:pt>
                <c:pt idx="9">
                  <c:v>3.2849398220477333E-2</c:v>
                </c:pt>
                <c:pt idx="10">
                  <c:v>9.1993412076656327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3299999999999999E-2</c:v>
                </c:pt>
                <c:pt idx="2">
                  <c:v>5.3400000000000003E-2</c:v>
                </c:pt>
                <c:pt idx="3">
                  <c:v>0.26860000000000001</c:v>
                </c:pt>
                <c:pt idx="4">
                  <c:v>0.15590000000000001</c:v>
                </c:pt>
                <c:pt idx="5">
                  <c:v>0.1182</c:v>
                </c:pt>
                <c:pt idx="6">
                  <c:v>3.5499999999999997E-2</c:v>
                </c:pt>
                <c:pt idx="7">
                  <c:v>0.30740000000000001</c:v>
                </c:pt>
                <c:pt idx="8">
                  <c:v>4.7600000000000003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6527667394670337E-2</c:v>
                </c:pt>
                <c:pt idx="1">
                  <c:v>1.059839761131851E-2</c:v>
                </c:pt>
                <c:pt idx="2">
                  <c:v>1.7161497889988782E-2</c:v>
                </c:pt>
                <c:pt idx="3">
                  <c:v>6.6576011417078446E-2</c:v>
                </c:pt>
                <c:pt idx="4">
                  <c:v>4.9079788619134333E-2</c:v>
                </c:pt>
                <c:pt idx="5">
                  <c:v>0.11852206218782732</c:v>
                </c:pt>
                <c:pt idx="6">
                  <c:v>0.13215882489295883</c:v>
                </c:pt>
                <c:pt idx="7">
                  <c:v>0.17983556640418591</c:v>
                </c:pt>
                <c:pt idx="8">
                  <c:v>0.23095884548151405</c:v>
                </c:pt>
                <c:pt idx="9">
                  <c:v>0.10991926140650649</c:v>
                </c:pt>
                <c:pt idx="10">
                  <c:v>6.8662076694817026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5.2252337967307976E-4</c:v>
                </c:pt>
                <c:pt idx="2">
                  <c:v>2.0947426931609502E-3</c:v>
                </c:pt>
                <c:pt idx="3">
                  <c:v>1.0539715045887483E-2</c:v>
                </c:pt>
                <c:pt idx="4">
                  <c:v>6.1164716718885874E-3</c:v>
                </c:pt>
                <c:pt idx="5">
                  <c:v>4.6386342526640147E-3</c:v>
                </c:pt>
                <c:pt idx="6">
                  <c:v>1.3922616492914946E-3</c:v>
                </c:pt>
                <c:pt idx="7">
                  <c:v>1.2061574390215329E-2</c:v>
                </c:pt>
                <c:pt idx="8">
                  <c:v>1.8675453811650908E-3</c:v>
                </c:pt>
                <c:pt idx="9">
                  <c:v>1.7567026611737253E-7</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4.4164548487646766E-5</c:v>
                </c:pt>
                <c:pt idx="1">
                  <c:v>2.133524078543317E-4</c:v>
                </c:pt>
                <c:pt idx="2">
                  <c:v>2.850554446928335E-3</c:v>
                </c:pt>
                <c:pt idx="3">
                  <c:v>1.995587437726043E-2</c:v>
                </c:pt>
                <c:pt idx="4">
                  <c:v>8.8442795641591482E-3</c:v>
                </c:pt>
                <c:pt idx="5">
                  <c:v>1.5405736195289997E-2</c:v>
                </c:pt>
                <c:pt idx="6">
                  <c:v>2.5099268441004883E-2</c:v>
                </c:pt>
                <c:pt idx="7">
                  <c:v>5.3913903873866971E-2</c:v>
                </c:pt>
                <c:pt idx="8">
                  <c:v>7.1244086962757996E-2</c:v>
                </c:pt>
                <c:pt idx="9">
                  <c:v>7.532943640677317E-2</c:v>
                </c:pt>
                <c:pt idx="10">
                  <c:v>5.7439654815510471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7.9312516187645419E-7</c:v>
                </c:pt>
                <c:pt idx="1">
                  <c:v>1.3625751136272241E-5</c:v>
                </c:pt>
                <c:pt idx="2">
                  <c:v>8.0648132003007108E-4</c:v>
                </c:pt>
                <c:pt idx="3">
                  <c:v>9.2630061668907775E-4</c:v>
                </c:pt>
                <c:pt idx="4">
                  <c:v>4.369225636822586E-3</c:v>
                </c:pt>
                <c:pt idx="5">
                  <c:v>2.6293648841027334E-2</c:v>
                </c:pt>
                <c:pt idx="6">
                  <c:v>1.0784220227369816E-2</c:v>
                </c:pt>
                <c:pt idx="7">
                  <c:v>7.273816953332451E-3</c:v>
                </c:pt>
                <c:pt idx="8">
                  <c:v>6.8436787405414543E-4</c:v>
                </c:pt>
                <c:pt idx="9">
                  <c:v>2.7968097813538123E-6</c:v>
                </c:pt>
                <c:pt idx="10">
                  <c:v>1.5827717046218714E-7</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oign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3">
                  <c:v>3.5997968284667565E-4</c:v>
                </c:pt>
                <c:pt idx="4">
                  <c:v>7.2661274657432936E-3</c:v>
                </c:pt>
                <c:pt idx="5">
                  <c:v>2.5105716061564259E-4</c:v>
                </c:pt>
                <c:pt idx="6">
                  <c:v>2.1370463543444487E-2</c:v>
                </c:pt>
                <c:pt idx="7">
                  <c:v>4.4692359368399019E-3</c:v>
                </c:pt>
                <c:pt idx="8">
                  <c:v>2.3884249393677989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1.5960186341347736E-2</c:v>
                </c:pt>
                <c:pt idx="1">
                  <c:v>1.0371419452327909E-2</c:v>
                </c:pt>
                <c:pt idx="2">
                  <c:v>1.1409719429869422E-2</c:v>
                </c:pt>
                <c:pt idx="3">
                  <c:v>3.4794141694394785E-2</c:v>
                </c:pt>
                <c:pt idx="4">
                  <c:v>2.2483684280520711E-2</c:v>
                </c:pt>
                <c:pt idx="5">
                  <c:v>7.1932985738230315E-2</c:v>
                </c:pt>
                <c:pt idx="6">
                  <c:v>7.3512611031848168E-2</c:v>
                </c:pt>
                <c:pt idx="7">
                  <c:v>0.10211703524993125</c:v>
                </c:pt>
                <c:pt idx="8">
                  <c:v>0.13327859586985882</c:v>
                </c:pt>
                <c:pt idx="9">
                  <c:v>3.4586852519685851E-2</c:v>
                </c:pt>
                <c:pt idx="10">
                  <c:v>1.1222263602136096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14/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9/14/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9/14/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9/1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9/14/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9/14/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9/14/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9/1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9/14/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9/14/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9/14/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chart" Target="../charts/chart2.xml"/><Relationship Id="rId5" Type="http://schemas.openxmlformats.org/officeDocument/2006/relationships/chart" Target="../charts/chart1.xml"/><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0.xml"/><Relationship Id="rId2" Type="http://schemas.openxmlformats.org/officeDocument/2006/relationships/slideLayout" Target="../slideLayouts/slideLayout7.xml"/><Relationship Id="rId1" Type="http://schemas.openxmlformats.org/officeDocument/2006/relationships/tags" Target="../tags/tag37.xml"/><Relationship Id="rId6" Type="http://schemas.openxmlformats.org/officeDocument/2006/relationships/chart" Target="../charts/chart29.xml"/><Relationship Id="rId5" Type="http://schemas.openxmlformats.org/officeDocument/2006/relationships/chart" Target="../charts/chart28.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3.xml"/><Relationship Id="rId2" Type="http://schemas.openxmlformats.org/officeDocument/2006/relationships/slideLayout" Target="../slideLayouts/slideLayout7.xml"/><Relationship Id="rId1" Type="http://schemas.openxmlformats.org/officeDocument/2006/relationships/tags" Target="../tags/tag38.xml"/><Relationship Id="rId6" Type="http://schemas.openxmlformats.org/officeDocument/2006/relationships/chart" Target="../charts/chart32.xml"/><Relationship Id="rId5" Type="http://schemas.openxmlformats.org/officeDocument/2006/relationships/chart" Target="../charts/chart31.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6.xml"/><Relationship Id="rId2" Type="http://schemas.openxmlformats.org/officeDocument/2006/relationships/slideLayout" Target="../slideLayouts/slideLayout7.xml"/><Relationship Id="rId1" Type="http://schemas.openxmlformats.org/officeDocument/2006/relationships/tags" Target="../tags/tag39.xml"/><Relationship Id="rId6" Type="http://schemas.openxmlformats.org/officeDocument/2006/relationships/chart" Target="../charts/chart35.xml"/><Relationship Id="rId5" Type="http://schemas.openxmlformats.org/officeDocument/2006/relationships/chart" Target="../charts/chart34.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9.xml"/><Relationship Id="rId2" Type="http://schemas.openxmlformats.org/officeDocument/2006/relationships/slideLayout" Target="../slideLayouts/slideLayout7.xml"/><Relationship Id="rId1" Type="http://schemas.openxmlformats.org/officeDocument/2006/relationships/tags" Target="../tags/tag40.xml"/><Relationship Id="rId6" Type="http://schemas.openxmlformats.org/officeDocument/2006/relationships/chart" Target="../charts/chart38.xml"/><Relationship Id="rId5" Type="http://schemas.openxmlformats.org/officeDocument/2006/relationships/chart" Target="../charts/chart37.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2.xml"/><Relationship Id="rId2" Type="http://schemas.openxmlformats.org/officeDocument/2006/relationships/slideLayout" Target="../slideLayouts/slideLayout7.xml"/><Relationship Id="rId1" Type="http://schemas.openxmlformats.org/officeDocument/2006/relationships/tags" Target="../tags/tag41.xml"/><Relationship Id="rId6" Type="http://schemas.openxmlformats.org/officeDocument/2006/relationships/chart" Target="../charts/chart41.xml"/><Relationship Id="rId5" Type="http://schemas.openxmlformats.org/officeDocument/2006/relationships/chart" Target="../charts/chart40.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5.xml"/><Relationship Id="rId2" Type="http://schemas.openxmlformats.org/officeDocument/2006/relationships/slideLayout" Target="../slideLayouts/slideLayout7.xml"/><Relationship Id="rId1" Type="http://schemas.openxmlformats.org/officeDocument/2006/relationships/tags" Target="../tags/tag42.xml"/><Relationship Id="rId6" Type="http://schemas.openxmlformats.org/officeDocument/2006/relationships/chart" Target="../charts/chart44.xml"/><Relationship Id="rId5" Type="http://schemas.openxmlformats.org/officeDocument/2006/relationships/chart" Target="../charts/chart43.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8.xml"/><Relationship Id="rId2" Type="http://schemas.openxmlformats.org/officeDocument/2006/relationships/slideLayout" Target="../slideLayouts/slideLayout7.xml"/><Relationship Id="rId1" Type="http://schemas.openxmlformats.org/officeDocument/2006/relationships/tags" Target="../tags/tag43.xml"/><Relationship Id="rId6" Type="http://schemas.openxmlformats.org/officeDocument/2006/relationships/chart" Target="../charts/chart47.xml"/><Relationship Id="rId5" Type="http://schemas.openxmlformats.org/officeDocument/2006/relationships/chart" Target="../charts/chart46.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1.xml"/><Relationship Id="rId2" Type="http://schemas.openxmlformats.org/officeDocument/2006/relationships/slideLayout" Target="../slideLayouts/slideLayout7.xml"/><Relationship Id="rId1" Type="http://schemas.openxmlformats.org/officeDocument/2006/relationships/tags" Target="../tags/tag44.xml"/><Relationship Id="rId6" Type="http://schemas.openxmlformats.org/officeDocument/2006/relationships/chart" Target="../charts/chart50.xml"/><Relationship Id="rId5" Type="http://schemas.openxmlformats.org/officeDocument/2006/relationships/chart" Target="../charts/chart49.xml"/><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4.xml"/><Relationship Id="rId2" Type="http://schemas.openxmlformats.org/officeDocument/2006/relationships/slideLayout" Target="../slideLayouts/slideLayout7.xml"/><Relationship Id="rId1" Type="http://schemas.openxmlformats.org/officeDocument/2006/relationships/tags" Target="../tags/tag45.xml"/><Relationship Id="rId6" Type="http://schemas.openxmlformats.org/officeDocument/2006/relationships/chart" Target="../charts/chart53.xml"/><Relationship Id="rId5" Type="http://schemas.openxmlformats.org/officeDocument/2006/relationships/chart" Target="../charts/chart52.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7.xml"/><Relationship Id="rId2" Type="http://schemas.openxmlformats.org/officeDocument/2006/relationships/slideLayout" Target="../slideLayouts/slideLayout7.xml"/><Relationship Id="rId1" Type="http://schemas.openxmlformats.org/officeDocument/2006/relationships/tags" Target="../tags/tag46.xml"/><Relationship Id="rId6" Type="http://schemas.openxmlformats.org/officeDocument/2006/relationships/chart" Target="../charts/chart56.xml"/><Relationship Id="rId5" Type="http://schemas.openxmlformats.org/officeDocument/2006/relationships/chart" Target="../charts/chart55.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chart" Target="../charts/chart5.xml"/><Relationship Id="rId5" Type="http://schemas.openxmlformats.org/officeDocument/2006/relationships/chart" Target="../charts/chart4.xml"/><Relationship Id="rId4" Type="http://schemas.openxmlformats.org/officeDocument/2006/relationships/image" Target="../media/image28.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0.xml"/><Relationship Id="rId2" Type="http://schemas.openxmlformats.org/officeDocument/2006/relationships/slideLayout" Target="../slideLayouts/slideLayout7.xml"/><Relationship Id="rId1" Type="http://schemas.openxmlformats.org/officeDocument/2006/relationships/tags" Target="../tags/tag47.xml"/><Relationship Id="rId6" Type="http://schemas.openxmlformats.org/officeDocument/2006/relationships/chart" Target="../charts/chart59.xml"/><Relationship Id="rId5" Type="http://schemas.openxmlformats.org/officeDocument/2006/relationships/chart" Target="../charts/chart58.xml"/><Relationship Id="rId4" Type="http://schemas.openxmlformats.org/officeDocument/2006/relationships/image" Target="../media/image28.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3.xml"/><Relationship Id="rId2" Type="http://schemas.openxmlformats.org/officeDocument/2006/relationships/slideLayout" Target="../slideLayouts/slideLayout7.xml"/><Relationship Id="rId1" Type="http://schemas.openxmlformats.org/officeDocument/2006/relationships/tags" Target="../tags/tag48.xml"/><Relationship Id="rId6" Type="http://schemas.openxmlformats.org/officeDocument/2006/relationships/chart" Target="../charts/chart62.xml"/><Relationship Id="rId5" Type="http://schemas.openxmlformats.org/officeDocument/2006/relationships/chart" Target="../charts/chart61.xml"/><Relationship Id="rId4" Type="http://schemas.openxmlformats.org/officeDocument/2006/relationships/image" Target="../media/image28.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6.xml"/><Relationship Id="rId2" Type="http://schemas.openxmlformats.org/officeDocument/2006/relationships/slideLayout" Target="../slideLayouts/slideLayout7.xml"/><Relationship Id="rId1" Type="http://schemas.openxmlformats.org/officeDocument/2006/relationships/tags" Target="../tags/tag49.xml"/><Relationship Id="rId6" Type="http://schemas.openxmlformats.org/officeDocument/2006/relationships/chart" Target="../charts/chart65.xml"/><Relationship Id="rId5" Type="http://schemas.openxmlformats.org/officeDocument/2006/relationships/chart" Target="../charts/chart64.xml"/><Relationship Id="rId4" Type="http://schemas.openxmlformats.org/officeDocument/2006/relationships/image" Target="../media/image28.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9.xml"/><Relationship Id="rId2" Type="http://schemas.openxmlformats.org/officeDocument/2006/relationships/slideLayout" Target="../slideLayouts/slideLayout7.xml"/><Relationship Id="rId1" Type="http://schemas.openxmlformats.org/officeDocument/2006/relationships/tags" Target="../tags/tag50.xml"/><Relationship Id="rId6" Type="http://schemas.openxmlformats.org/officeDocument/2006/relationships/chart" Target="../charts/chart68.xml"/><Relationship Id="rId5" Type="http://schemas.openxmlformats.org/officeDocument/2006/relationships/chart" Target="../charts/chart67.xml"/><Relationship Id="rId4" Type="http://schemas.openxmlformats.org/officeDocument/2006/relationships/image" Target="../media/image28.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2.xml"/><Relationship Id="rId2" Type="http://schemas.openxmlformats.org/officeDocument/2006/relationships/slideLayout" Target="../slideLayouts/slideLayout7.xml"/><Relationship Id="rId1" Type="http://schemas.openxmlformats.org/officeDocument/2006/relationships/tags" Target="../tags/tag51.xml"/><Relationship Id="rId6" Type="http://schemas.openxmlformats.org/officeDocument/2006/relationships/chart" Target="../charts/chart71.xml"/><Relationship Id="rId5" Type="http://schemas.openxmlformats.org/officeDocument/2006/relationships/chart" Target="../charts/chart70.xml"/><Relationship Id="rId4" Type="http://schemas.openxmlformats.org/officeDocument/2006/relationships/image" Target="../media/image28.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5.xml"/><Relationship Id="rId2" Type="http://schemas.openxmlformats.org/officeDocument/2006/relationships/slideLayout" Target="../slideLayouts/slideLayout7.xml"/><Relationship Id="rId1" Type="http://schemas.openxmlformats.org/officeDocument/2006/relationships/tags" Target="../tags/tag52.xml"/><Relationship Id="rId6" Type="http://schemas.openxmlformats.org/officeDocument/2006/relationships/chart" Target="../charts/chart74.xml"/><Relationship Id="rId5" Type="http://schemas.openxmlformats.org/officeDocument/2006/relationships/chart" Target="../charts/chart73.xml"/><Relationship Id="rId4" Type="http://schemas.openxmlformats.org/officeDocument/2006/relationships/image" Target="../media/image28.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8.xml"/><Relationship Id="rId2" Type="http://schemas.openxmlformats.org/officeDocument/2006/relationships/slideLayout" Target="../slideLayouts/slideLayout7.xml"/><Relationship Id="rId1" Type="http://schemas.openxmlformats.org/officeDocument/2006/relationships/tags" Target="../tags/tag53.xml"/><Relationship Id="rId6" Type="http://schemas.openxmlformats.org/officeDocument/2006/relationships/chart" Target="../charts/chart77.xml"/><Relationship Id="rId5" Type="http://schemas.openxmlformats.org/officeDocument/2006/relationships/chart" Target="../charts/chart76.xml"/><Relationship Id="rId4" Type="http://schemas.openxmlformats.org/officeDocument/2006/relationships/image" Target="../media/image28.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81.xml"/><Relationship Id="rId2" Type="http://schemas.openxmlformats.org/officeDocument/2006/relationships/slideLayout" Target="../slideLayouts/slideLayout7.xml"/><Relationship Id="rId1" Type="http://schemas.openxmlformats.org/officeDocument/2006/relationships/tags" Target="../tags/tag54.xml"/><Relationship Id="rId6" Type="http://schemas.openxmlformats.org/officeDocument/2006/relationships/chart" Target="../charts/chart80.xml"/><Relationship Id="rId5" Type="http://schemas.openxmlformats.org/officeDocument/2006/relationships/chart" Target="../charts/chart79.xml"/><Relationship Id="rId4" Type="http://schemas.openxmlformats.org/officeDocument/2006/relationships/image" Target="../media/image28.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84.xml"/><Relationship Id="rId2" Type="http://schemas.openxmlformats.org/officeDocument/2006/relationships/slideLayout" Target="../slideLayouts/slideLayout7.xml"/><Relationship Id="rId1" Type="http://schemas.openxmlformats.org/officeDocument/2006/relationships/tags" Target="../tags/tag55.xml"/><Relationship Id="rId6" Type="http://schemas.openxmlformats.org/officeDocument/2006/relationships/chart" Target="../charts/chart83.xml"/><Relationship Id="rId5" Type="http://schemas.openxmlformats.org/officeDocument/2006/relationships/chart" Target="../charts/chart82.xml"/><Relationship Id="rId4" Type="http://schemas.openxmlformats.org/officeDocument/2006/relationships/image" Target="../media/image28.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87.xml"/><Relationship Id="rId2" Type="http://schemas.openxmlformats.org/officeDocument/2006/relationships/slideLayout" Target="../slideLayouts/slideLayout7.xml"/><Relationship Id="rId1" Type="http://schemas.openxmlformats.org/officeDocument/2006/relationships/tags" Target="../tags/tag56.xml"/><Relationship Id="rId6" Type="http://schemas.openxmlformats.org/officeDocument/2006/relationships/chart" Target="../charts/chart86.xml"/><Relationship Id="rId5" Type="http://schemas.openxmlformats.org/officeDocument/2006/relationships/chart" Target="../charts/chart85.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chart" Target="../charts/chart8.xml"/><Relationship Id="rId5" Type="http://schemas.openxmlformats.org/officeDocument/2006/relationships/chart" Target="../charts/chart7.xml"/><Relationship Id="rId4" Type="http://schemas.openxmlformats.org/officeDocument/2006/relationships/image" Target="../media/image28.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0.xml"/><Relationship Id="rId2" Type="http://schemas.openxmlformats.org/officeDocument/2006/relationships/slideLayout" Target="../slideLayouts/slideLayout7.xml"/><Relationship Id="rId1" Type="http://schemas.openxmlformats.org/officeDocument/2006/relationships/tags" Target="../tags/tag57.xml"/><Relationship Id="rId6" Type="http://schemas.openxmlformats.org/officeDocument/2006/relationships/chart" Target="../charts/chart89.xml"/><Relationship Id="rId5" Type="http://schemas.openxmlformats.org/officeDocument/2006/relationships/chart" Target="../charts/chart88.xml"/><Relationship Id="rId4" Type="http://schemas.openxmlformats.org/officeDocument/2006/relationships/image" Target="../media/image28.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3.xml"/><Relationship Id="rId2" Type="http://schemas.openxmlformats.org/officeDocument/2006/relationships/slideLayout" Target="../slideLayouts/slideLayout7.xml"/><Relationship Id="rId1" Type="http://schemas.openxmlformats.org/officeDocument/2006/relationships/tags" Target="../tags/tag58.xml"/><Relationship Id="rId6" Type="http://schemas.openxmlformats.org/officeDocument/2006/relationships/chart" Target="../charts/chart92.xml"/><Relationship Id="rId5" Type="http://schemas.openxmlformats.org/officeDocument/2006/relationships/chart" Target="../charts/chart91.xml"/><Relationship Id="rId4" Type="http://schemas.openxmlformats.org/officeDocument/2006/relationships/image" Target="../media/image28.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6.xml"/><Relationship Id="rId2" Type="http://schemas.openxmlformats.org/officeDocument/2006/relationships/slideLayout" Target="../slideLayouts/slideLayout7.xml"/><Relationship Id="rId1" Type="http://schemas.openxmlformats.org/officeDocument/2006/relationships/tags" Target="../tags/tag59.xml"/><Relationship Id="rId6" Type="http://schemas.openxmlformats.org/officeDocument/2006/relationships/chart" Target="../charts/chart95.xml"/><Relationship Id="rId5" Type="http://schemas.openxmlformats.org/officeDocument/2006/relationships/chart" Target="../charts/chart94.xml"/><Relationship Id="rId4" Type="http://schemas.openxmlformats.org/officeDocument/2006/relationships/image" Target="../media/image28.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9.xml"/><Relationship Id="rId2" Type="http://schemas.openxmlformats.org/officeDocument/2006/relationships/slideLayout" Target="../slideLayouts/slideLayout7.xml"/><Relationship Id="rId1" Type="http://schemas.openxmlformats.org/officeDocument/2006/relationships/tags" Target="../tags/tag60.xml"/><Relationship Id="rId6" Type="http://schemas.openxmlformats.org/officeDocument/2006/relationships/chart" Target="../charts/chart98.xml"/><Relationship Id="rId5" Type="http://schemas.openxmlformats.org/officeDocument/2006/relationships/chart" Target="../charts/chart97.xml"/><Relationship Id="rId4" Type="http://schemas.openxmlformats.org/officeDocument/2006/relationships/image" Target="../media/image28.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02.xml"/><Relationship Id="rId2" Type="http://schemas.openxmlformats.org/officeDocument/2006/relationships/slideLayout" Target="../slideLayouts/slideLayout7.xml"/><Relationship Id="rId1" Type="http://schemas.openxmlformats.org/officeDocument/2006/relationships/tags" Target="../tags/tag61.xml"/><Relationship Id="rId6" Type="http://schemas.openxmlformats.org/officeDocument/2006/relationships/chart" Target="../charts/chart101.xml"/><Relationship Id="rId5" Type="http://schemas.openxmlformats.org/officeDocument/2006/relationships/chart" Target="../charts/chart100.xml"/><Relationship Id="rId4" Type="http://schemas.openxmlformats.org/officeDocument/2006/relationships/image" Target="../media/image28.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05.xml"/><Relationship Id="rId2" Type="http://schemas.openxmlformats.org/officeDocument/2006/relationships/slideLayout" Target="../slideLayouts/slideLayout7.xml"/><Relationship Id="rId1" Type="http://schemas.openxmlformats.org/officeDocument/2006/relationships/tags" Target="../tags/tag62.xml"/><Relationship Id="rId6" Type="http://schemas.openxmlformats.org/officeDocument/2006/relationships/chart" Target="../charts/chart104.xml"/><Relationship Id="rId5" Type="http://schemas.openxmlformats.org/officeDocument/2006/relationships/chart" Target="../charts/chart103.xml"/><Relationship Id="rId4" Type="http://schemas.openxmlformats.org/officeDocument/2006/relationships/image" Target="../media/image28.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08.xml"/><Relationship Id="rId2" Type="http://schemas.openxmlformats.org/officeDocument/2006/relationships/slideLayout" Target="../slideLayouts/slideLayout7.xml"/><Relationship Id="rId1" Type="http://schemas.openxmlformats.org/officeDocument/2006/relationships/tags" Target="../tags/tag63.xml"/><Relationship Id="rId6" Type="http://schemas.openxmlformats.org/officeDocument/2006/relationships/chart" Target="../charts/chart107.xml"/><Relationship Id="rId5" Type="http://schemas.openxmlformats.org/officeDocument/2006/relationships/chart" Target="../charts/chart106.xml"/><Relationship Id="rId4" Type="http://schemas.openxmlformats.org/officeDocument/2006/relationships/image" Target="../media/image28.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11.xml"/><Relationship Id="rId2" Type="http://schemas.openxmlformats.org/officeDocument/2006/relationships/slideLayout" Target="../slideLayouts/slideLayout7.xml"/><Relationship Id="rId1" Type="http://schemas.openxmlformats.org/officeDocument/2006/relationships/tags" Target="../tags/tag64.xml"/><Relationship Id="rId6" Type="http://schemas.openxmlformats.org/officeDocument/2006/relationships/chart" Target="../charts/chart110.xml"/><Relationship Id="rId5" Type="http://schemas.openxmlformats.org/officeDocument/2006/relationships/chart" Target="../charts/chart109.xml"/><Relationship Id="rId4" Type="http://schemas.openxmlformats.org/officeDocument/2006/relationships/image" Target="../media/image28.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14.xml"/><Relationship Id="rId2" Type="http://schemas.openxmlformats.org/officeDocument/2006/relationships/slideLayout" Target="../slideLayouts/slideLayout7.xml"/><Relationship Id="rId1" Type="http://schemas.openxmlformats.org/officeDocument/2006/relationships/tags" Target="../tags/tag65.xml"/><Relationship Id="rId6" Type="http://schemas.openxmlformats.org/officeDocument/2006/relationships/chart" Target="../charts/chart113.xml"/><Relationship Id="rId5" Type="http://schemas.openxmlformats.org/officeDocument/2006/relationships/chart" Target="../charts/chart112.xml"/><Relationship Id="rId4" Type="http://schemas.openxmlformats.org/officeDocument/2006/relationships/image" Target="../media/image28.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17.xml"/><Relationship Id="rId2" Type="http://schemas.openxmlformats.org/officeDocument/2006/relationships/slideLayout" Target="../slideLayouts/slideLayout7.xml"/><Relationship Id="rId1" Type="http://schemas.openxmlformats.org/officeDocument/2006/relationships/tags" Target="../tags/tag66.xml"/><Relationship Id="rId6" Type="http://schemas.openxmlformats.org/officeDocument/2006/relationships/chart" Target="../charts/chart116.xml"/><Relationship Id="rId5" Type="http://schemas.openxmlformats.org/officeDocument/2006/relationships/chart" Target="../charts/chart115.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chart" Target="../charts/chart11.xml"/><Relationship Id="rId5" Type="http://schemas.openxmlformats.org/officeDocument/2006/relationships/chart" Target="../charts/chart10.xml"/><Relationship Id="rId4" Type="http://schemas.openxmlformats.org/officeDocument/2006/relationships/image" Target="../media/image28.emf"/></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0.xml"/><Relationship Id="rId2" Type="http://schemas.openxmlformats.org/officeDocument/2006/relationships/slideLayout" Target="../slideLayouts/slideLayout7.xml"/><Relationship Id="rId1" Type="http://schemas.openxmlformats.org/officeDocument/2006/relationships/tags" Target="../tags/tag67.xml"/><Relationship Id="rId6" Type="http://schemas.openxmlformats.org/officeDocument/2006/relationships/chart" Target="../charts/chart119.xml"/><Relationship Id="rId5" Type="http://schemas.openxmlformats.org/officeDocument/2006/relationships/chart" Target="../charts/chart118.xml"/><Relationship Id="rId4" Type="http://schemas.openxmlformats.org/officeDocument/2006/relationships/image" Target="../media/image28.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3.xml"/><Relationship Id="rId2" Type="http://schemas.openxmlformats.org/officeDocument/2006/relationships/slideLayout" Target="../slideLayouts/slideLayout7.xml"/><Relationship Id="rId1" Type="http://schemas.openxmlformats.org/officeDocument/2006/relationships/tags" Target="../tags/tag68.xml"/><Relationship Id="rId6" Type="http://schemas.openxmlformats.org/officeDocument/2006/relationships/chart" Target="../charts/chart122.xml"/><Relationship Id="rId5" Type="http://schemas.openxmlformats.org/officeDocument/2006/relationships/chart" Target="../charts/chart121.xml"/><Relationship Id="rId4" Type="http://schemas.openxmlformats.org/officeDocument/2006/relationships/image" Target="../media/image28.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6.xml"/><Relationship Id="rId2" Type="http://schemas.openxmlformats.org/officeDocument/2006/relationships/slideLayout" Target="../slideLayouts/slideLayout7.xml"/><Relationship Id="rId1" Type="http://schemas.openxmlformats.org/officeDocument/2006/relationships/tags" Target="../tags/tag69.xml"/><Relationship Id="rId6" Type="http://schemas.openxmlformats.org/officeDocument/2006/relationships/chart" Target="../charts/chart125.xml"/><Relationship Id="rId5" Type="http://schemas.openxmlformats.org/officeDocument/2006/relationships/chart" Target="../charts/chart124.xml"/><Relationship Id="rId4" Type="http://schemas.openxmlformats.org/officeDocument/2006/relationships/image" Target="../media/image28.emf"/></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9.xml"/><Relationship Id="rId2" Type="http://schemas.openxmlformats.org/officeDocument/2006/relationships/slideLayout" Target="../slideLayouts/slideLayout7.xml"/><Relationship Id="rId1" Type="http://schemas.openxmlformats.org/officeDocument/2006/relationships/tags" Target="../tags/tag70.xml"/><Relationship Id="rId6" Type="http://schemas.openxmlformats.org/officeDocument/2006/relationships/chart" Target="../charts/chart128.xml"/><Relationship Id="rId5" Type="http://schemas.openxmlformats.org/officeDocument/2006/relationships/chart" Target="../charts/chart127.xml"/><Relationship Id="rId4" Type="http://schemas.openxmlformats.org/officeDocument/2006/relationships/image" Target="../media/image28.emf"/></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32.xml"/><Relationship Id="rId2" Type="http://schemas.openxmlformats.org/officeDocument/2006/relationships/slideLayout" Target="../slideLayouts/slideLayout7.xml"/><Relationship Id="rId1" Type="http://schemas.openxmlformats.org/officeDocument/2006/relationships/tags" Target="../tags/tag71.xml"/><Relationship Id="rId6" Type="http://schemas.openxmlformats.org/officeDocument/2006/relationships/chart" Target="../charts/chart131.xml"/><Relationship Id="rId5" Type="http://schemas.openxmlformats.org/officeDocument/2006/relationships/chart" Target="../charts/chart130.xml"/><Relationship Id="rId4" Type="http://schemas.openxmlformats.org/officeDocument/2006/relationships/image" Target="../media/image28.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35.xml"/><Relationship Id="rId2" Type="http://schemas.openxmlformats.org/officeDocument/2006/relationships/slideLayout" Target="../slideLayouts/slideLayout7.xml"/><Relationship Id="rId1" Type="http://schemas.openxmlformats.org/officeDocument/2006/relationships/tags" Target="../tags/tag72.xml"/><Relationship Id="rId6" Type="http://schemas.openxmlformats.org/officeDocument/2006/relationships/chart" Target="../charts/chart134.xml"/><Relationship Id="rId5" Type="http://schemas.openxmlformats.org/officeDocument/2006/relationships/chart" Target="../charts/chart133.xml"/><Relationship Id="rId4" Type="http://schemas.openxmlformats.org/officeDocument/2006/relationships/image" Target="../media/image28.emf"/></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38.xml"/><Relationship Id="rId2" Type="http://schemas.openxmlformats.org/officeDocument/2006/relationships/slideLayout" Target="../slideLayouts/slideLayout7.xml"/><Relationship Id="rId1" Type="http://schemas.openxmlformats.org/officeDocument/2006/relationships/tags" Target="../tags/tag73.xml"/><Relationship Id="rId6" Type="http://schemas.openxmlformats.org/officeDocument/2006/relationships/chart" Target="../charts/chart137.xml"/><Relationship Id="rId5" Type="http://schemas.openxmlformats.org/officeDocument/2006/relationships/chart" Target="../charts/chart136.xml"/><Relationship Id="rId4" Type="http://schemas.openxmlformats.org/officeDocument/2006/relationships/image" Target="../media/image28.emf"/></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41.xml"/><Relationship Id="rId2" Type="http://schemas.openxmlformats.org/officeDocument/2006/relationships/slideLayout" Target="../slideLayouts/slideLayout7.xml"/><Relationship Id="rId1" Type="http://schemas.openxmlformats.org/officeDocument/2006/relationships/tags" Target="../tags/tag74.xml"/><Relationship Id="rId6" Type="http://schemas.openxmlformats.org/officeDocument/2006/relationships/chart" Target="../charts/chart140.xml"/><Relationship Id="rId5" Type="http://schemas.openxmlformats.org/officeDocument/2006/relationships/chart" Target="../charts/chart139.xml"/><Relationship Id="rId4" Type="http://schemas.openxmlformats.org/officeDocument/2006/relationships/image" Target="../media/image28.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44.xml"/><Relationship Id="rId2" Type="http://schemas.openxmlformats.org/officeDocument/2006/relationships/slideLayout" Target="../slideLayouts/slideLayout7.xml"/><Relationship Id="rId1" Type="http://schemas.openxmlformats.org/officeDocument/2006/relationships/tags" Target="../tags/tag75.xml"/><Relationship Id="rId6" Type="http://schemas.openxmlformats.org/officeDocument/2006/relationships/chart" Target="../charts/chart143.xml"/><Relationship Id="rId5" Type="http://schemas.openxmlformats.org/officeDocument/2006/relationships/chart" Target="../charts/chart142.xml"/><Relationship Id="rId4" Type="http://schemas.openxmlformats.org/officeDocument/2006/relationships/image" Target="../media/image28.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47.xml"/><Relationship Id="rId2" Type="http://schemas.openxmlformats.org/officeDocument/2006/relationships/slideLayout" Target="../slideLayouts/slideLayout7.xml"/><Relationship Id="rId1" Type="http://schemas.openxmlformats.org/officeDocument/2006/relationships/tags" Target="../tags/tag76.xml"/><Relationship Id="rId6" Type="http://schemas.openxmlformats.org/officeDocument/2006/relationships/chart" Target="../charts/chart146.xml"/><Relationship Id="rId5" Type="http://schemas.openxmlformats.org/officeDocument/2006/relationships/chart" Target="../charts/chart145.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14.xml"/><Relationship Id="rId5" Type="http://schemas.openxmlformats.org/officeDocument/2006/relationships/chart" Target="../charts/chart13.xml"/><Relationship Id="rId4" Type="http://schemas.openxmlformats.org/officeDocument/2006/relationships/image" Target="../media/image28.emf"/></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0.xml"/><Relationship Id="rId2" Type="http://schemas.openxmlformats.org/officeDocument/2006/relationships/slideLayout" Target="../slideLayouts/slideLayout7.xml"/><Relationship Id="rId1" Type="http://schemas.openxmlformats.org/officeDocument/2006/relationships/tags" Target="../tags/tag77.xml"/><Relationship Id="rId6" Type="http://schemas.openxmlformats.org/officeDocument/2006/relationships/chart" Target="../charts/chart149.xml"/><Relationship Id="rId5" Type="http://schemas.openxmlformats.org/officeDocument/2006/relationships/chart" Target="../charts/chart148.xml"/><Relationship Id="rId4" Type="http://schemas.openxmlformats.org/officeDocument/2006/relationships/image" Target="../media/image28.emf"/></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3.xml"/><Relationship Id="rId2" Type="http://schemas.openxmlformats.org/officeDocument/2006/relationships/slideLayout" Target="../slideLayouts/slideLayout7.xml"/><Relationship Id="rId1" Type="http://schemas.openxmlformats.org/officeDocument/2006/relationships/tags" Target="../tags/tag78.xml"/><Relationship Id="rId6" Type="http://schemas.openxmlformats.org/officeDocument/2006/relationships/chart" Target="../charts/chart152.xml"/><Relationship Id="rId5" Type="http://schemas.openxmlformats.org/officeDocument/2006/relationships/chart" Target="../charts/chart151.xml"/><Relationship Id="rId4" Type="http://schemas.openxmlformats.org/officeDocument/2006/relationships/image" Target="../media/image28.emf"/></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6.xml"/><Relationship Id="rId2" Type="http://schemas.openxmlformats.org/officeDocument/2006/relationships/slideLayout" Target="../slideLayouts/slideLayout7.xml"/><Relationship Id="rId1" Type="http://schemas.openxmlformats.org/officeDocument/2006/relationships/tags" Target="../tags/tag79.xml"/><Relationship Id="rId6" Type="http://schemas.openxmlformats.org/officeDocument/2006/relationships/chart" Target="../charts/chart155.xml"/><Relationship Id="rId5" Type="http://schemas.openxmlformats.org/officeDocument/2006/relationships/chart" Target="../charts/chart154.xml"/><Relationship Id="rId4" Type="http://schemas.openxmlformats.org/officeDocument/2006/relationships/image" Target="../media/image28.emf"/></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9.xml"/><Relationship Id="rId2" Type="http://schemas.openxmlformats.org/officeDocument/2006/relationships/slideLayout" Target="../slideLayouts/slideLayout7.xml"/><Relationship Id="rId1" Type="http://schemas.openxmlformats.org/officeDocument/2006/relationships/tags" Target="../tags/tag80.xml"/><Relationship Id="rId6" Type="http://schemas.openxmlformats.org/officeDocument/2006/relationships/chart" Target="../charts/chart158.xml"/><Relationship Id="rId5" Type="http://schemas.openxmlformats.org/officeDocument/2006/relationships/chart" Target="../charts/chart157.xml"/><Relationship Id="rId4" Type="http://schemas.openxmlformats.org/officeDocument/2006/relationships/image" Target="../media/image28.emf"/></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62.xml"/><Relationship Id="rId2" Type="http://schemas.openxmlformats.org/officeDocument/2006/relationships/slideLayout" Target="../slideLayouts/slideLayout7.xml"/><Relationship Id="rId1" Type="http://schemas.openxmlformats.org/officeDocument/2006/relationships/tags" Target="../tags/tag81.xml"/><Relationship Id="rId6" Type="http://schemas.openxmlformats.org/officeDocument/2006/relationships/chart" Target="../charts/chart161.xml"/><Relationship Id="rId5" Type="http://schemas.openxmlformats.org/officeDocument/2006/relationships/chart" Target="../charts/chart160.xml"/><Relationship Id="rId4" Type="http://schemas.openxmlformats.org/officeDocument/2006/relationships/image" Target="../media/image28.emf"/></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65.xml"/><Relationship Id="rId2" Type="http://schemas.openxmlformats.org/officeDocument/2006/relationships/slideLayout" Target="../slideLayouts/slideLayout7.xml"/><Relationship Id="rId1" Type="http://schemas.openxmlformats.org/officeDocument/2006/relationships/tags" Target="../tags/tag82.xml"/><Relationship Id="rId6" Type="http://schemas.openxmlformats.org/officeDocument/2006/relationships/chart" Target="../charts/chart164.xml"/><Relationship Id="rId5" Type="http://schemas.openxmlformats.org/officeDocument/2006/relationships/chart" Target="../charts/chart163.xml"/><Relationship Id="rId4" Type="http://schemas.openxmlformats.org/officeDocument/2006/relationships/image" Target="../media/image28.emf"/></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68.xml"/><Relationship Id="rId2" Type="http://schemas.openxmlformats.org/officeDocument/2006/relationships/slideLayout" Target="../slideLayouts/slideLayout7.xml"/><Relationship Id="rId1" Type="http://schemas.openxmlformats.org/officeDocument/2006/relationships/tags" Target="../tags/tag83.xml"/><Relationship Id="rId6" Type="http://schemas.openxmlformats.org/officeDocument/2006/relationships/chart" Target="../charts/chart167.xml"/><Relationship Id="rId5" Type="http://schemas.openxmlformats.org/officeDocument/2006/relationships/chart" Target="../charts/chart166.xml"/><Relationship Id="rId4" Type="http://schemas.openxmlformats.org/officeDocument/2006/relationships/image" Target="../media/image28.emf"/></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71.xml"/><Relationship Id="rId2" Type="http://schemas.openxmlformats.org/officeDocument/2006/relationships/slideLayout" Target="../slideLayouts/slideLayout7.xml"/><Relationship Id="rId1" Type="http://schemas.openxmlformats.org/officeDocument/2006/relationships/tags" Target="../tags/tag84.xml"/><Relationship Id="rId6" Type="http://schemas.openxmlformats.org/officeDocument/2006/relationships/chart" Target="../charts/chart170.xml"/><Relationship Id="rId5" Type="http://schemas.openxmlformats.org/officeDocument/2006/relationships/chart" Target="../charts/chart169.xml"/><Relationship Id="rId4" Type="http://schemas.openxmlformats.org/officeDocument/2006/relationships/image" Target="../media/image28.emf"/></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74.xml"/><Relationship Id="rId2" Type="http://schemas.openxmlformats.org/officeDocument/2006/relationships/slideLayout" Target="../slideLayouts/slideLayout7.xml"/><Relationship Id="rId1" Type="http://schemas.openxmlformats.org/officeDocument/2006/relationships/tags" Target="../tags/tag85.xml"/><Relationship Id="rId6" Type="http://schemas.openxmlformats.org/officeDocument/2006/relationships/chart" Target="../charts/chart173.xml"/><Relationship Id="rId5" Type="http://schemas.openxmlformats.org/officeDocument/2006/relationships/chart" Target="../charts/chart172.xml"/><Relationship Id="rId4" Type="http://schemas.openxmlformats.org/officeDocument/2006/relationships/image" Target="../media/image28.emf"/></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77.xml"/><Relationship Id="rId2" Type="http://schemas.openxmlformats.org/officeDocument/2006/relationships/slideLayout" Target="../slideLayouts/slideLayout7.xml"/><Relationship Id="rId1" Type="http://schemas.openxmlformats.org/officeDocument/2006/relationships/tags" Target="../tags/tag86.xml"/><Relationship Id="rId6" Type="http://schemas.openxmlformats.org/officeDocument/2006/relationships/chart" Target="../charts/chart176.xml"/><Relationship Id="rId5" Type="http://schemas.openxmlformats.org/officeDocument/2006/relationships/chart" Target="../charts/chart175.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17.xml"/><Relationship Id="rId5" Type="http://schemas.openxmlformats.org/officeDocument/2006/relationships/chart" Target="../charts/chart16.xml"/><Relationship Id="rId4" Type="http://schemas.openxmlformats.org/officeDocument/2006/relationships/image" Target="../media/image28.emf"/></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0.xml"/><Relationship Id="rId2" Type="http://schemas.openxmlformats.org/officeDocument/2006/relationships/slideLayout" Target="../slideLayouts/slideLayout7.xml"/><Relationship Id="rId1" Type="http://schemas.openxmlformats.org/officeDocument/2006/relationships/tags" Target="../tags/tag87.xml"/><Relationship Id="rId6" Type="http://schemas.openxmlformats.org/officeDocument/2006/relationships/chart" Target="../charts/chart179.xml"/><Relationship Id="rId5" Type="http://schemas.openxmlformats.org/officeDocument/2006/relationships/chart" Target="../charts/chart178.xml"/><Relationship Id="rId4" Type="http://schemas.openxmlformats.org/officeDocument/2006/relationships/image" Target="../media/image28.emf"/></Relationships>
</file>

<file path=ppt/slides/_rels/slide6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3.xml"/><Relationship Id="rId2" Type="http://schemas.openxmlformats.org/officeDocument/2006/relationships/slideLayout" Target="../slideLayouts/slideLayout7.xml"/><Relationship Id="rId1" Type="http://schemas.openxmlformats.org/officeDocument/2006/relationships/tags" Target="../tags/tag88.xml"/><Relationship Id="rId6" Type="http://schemas.openxmlformats.org/officeDocument/2006/relationships/chart" Target="../charts/chart182.xml"/><Relationship Id="rId5" Type="http://schemas.openxmlformats.org/officeDocument/2006/relationships/chart" Target="../charts/chart181.xml"/><Relationship Id="rId4" Type="http://schemas.openxmlformats.org/officeDocument/2006/relationships/image" Target="../media/image28.emf"/></Relationships>
</file>

<file path=ppt/slides/_rels/slide6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6.xml"/><Relationship Id="rId2" Type="http://schemas.openxmlformats.org/officeDocument/2006/relationships/slideLayout" Target="../slideLayouts/slideLayout7.xml"/><Relationship Id="rId1" Type="http://schemas.openxmlformats.org/officeDocument/2006/relationships/tags" Target="../tags/tag89.xml"/><Relationship Id="rId6" Type="http://schemas.openxmlformats.org/officeDocument/2006/relationships/chart" Target="../charts/chart185.xml"/><Relationship Id="rId5" Type="http://schemas.openxmlformats.org/officeDocument/2006/relationships/chart" Target="../charts/chart184.xml"/><Relationship Id="rId4" Type="http://schemas.openxmlformats.org/officeDocument/2006/relationships/image" Target="../media/image28.emf"/></Relationships>
</file>

<file path=ppt/slides/_rels/slide6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9.xml"/><Relationship Id="rId2" Type="http://schemas.openxmlformats.org/officeDocument/2006/relationships/slideLayout" Target="../slideLayouts/slideLayout7.xml"/><Relationship Id="rId1" Type="http://schemas.openxmlformats.org/officeDocument/2006/relationships/tags" Target="../tags/tag90.xml"/><Relationship Id="rId6" Type="http://schemas.openxmlformats.org/officeDocument/2006/relationships/chart" Target="../charts/chart188.xml"/><Relationship Id="rId5" Type="http://schemas.openxmlformats.org/officeDocument/2006/relationships/chart" Target="../charts/chart187.xml"/><Relationship Id="rId4" Type="http://schemas.openxmlformats.org/officeDocument/2006/relationships/image" Target="../media/image28.emf"/></Relationships>
</file>

<file path=ppt/slides/_rels/slide6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92.xml"/><Relationship Id="rId2" Type="http://schemas.openxmlformats.org/officeDocument/2006/relationships/slideLayout" Target="../slideLayouts/slideLayout7.xml"/><Relationship Id="rId1" Type="http://schemas.openxmlformats.org/officeDocument/2006/relationships/tags" Target="../tags/tag91.xml"/><Relationship Id="rId6" Type="http://schemas.openxmlformats.org/officeDocument/2006/relationships/chart" Target="../charts/chart191.xml"/><Relationship Id="rId5" Type="http://schemas.openxmlformats.org/officeDocument/2006/relationships/chart" Target="../charts/chart190.xml"/><Relationship Id="rId4" Type="http://schemas.openxmlformats.org/officeDocument/2006/relationships/image" Target="../media/image28.emf"/></Relationships>
</file>

<file path=ppt/slides/_rels/slide6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95.xml"/><Relationship Id="rId2" Type="http://schemas.openxmlformats.org/officeDocument/2006/relationships/slideLayout" Target="../slideLayouts/slideLayout7.xml"/><Relationship Id="rId1" Type="http://schemas.openxmlformats.org/officeDocument/2006/relationships/tags" Target="../tags/tag92.xml"/><Relationship Id="rId6" Type="http://schemas.openxmlformats.org/officeDocument/2006/relationships/chart" Target="../charts/chart194.xml"/><Relationship Id="rId5" Type="http://schemas.openxmlformats.org/officeDocument/2006/relationships/chart" Target="../charts/chart193.xml"/><Relationship Id="rId4" Type="http://schemas.openxmlformats.org/officeDocument/2006/relationships/image" Target="../media/image28.emf"/></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98.xml"/><Relationship Id="rId2" Type="http://schemas.openxmlformats.org/officeDocument/2006/relationships/slideLayout" Target="../slideLayouts/slideLayout7.xml"/><Relationship Id="rId1" Type="http://schemas.openxmlformats.org/officeDocument/2006/relationships/tags" Target="../tags/tag93.xml"/><Relationship Id="rId6" Type="http://schemas.openxmlformats.org/officeDocument/2006/relationships/chart" Target="../charts/chart197.xml"/><Relationship Id="rId5" Type="http://schemas.openxmlformats.org/officeDocument/2006/relationships/chart" Target="../charts/chart196.xml"/><Relationship Id="rId4" Type="http://schemas.openxmlformats.org/officeDocument/2006/relationships/image" Target="../media/image28.emf"/></Relationships>
</file>

<file path=ppt/slides/_rels/slide6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01.xml"/><Relationship Id="rId2" Type="http://schemas.openxmlformats.org/officeDocument/2006/relationships/slideLayout" Target="../slideLayouts/slideLayout7.xml"/><Relationship Id="rId1" Type="http://schemas.openxmlformats.org/officeDocument/2006/relationships/tags" Target="../tags/tag94.xml"/><Relationship Id="rId6" Type="http://schemas.openxmlformats.org/officeDocument/2006/relationships/chart" Target="../charts/chart200.xml"/><Relationship Id="rId5" Type="http://schemas.openxmlformats.org/officeDocument/2006/relationships/chart" Target="../charts/chart199.xml"/><Relationship Id="rId4" Type="http://schemas.openxmlformats.org/officeDocument/2006/relationships/image" Target="../media/image28.emf"/></Relationships>
</file>

<file path=ppt/slides/_rels/slide6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04.xml"/><Relationship Id="rId2" Type="http://schemas.openxmlformats.org/officeDocument/2006/relationships/slideLayout" Target="../slideLayouts/slideLayout7.xml"/><Relationship Id="rId1" Type="http://schemas.openxmlformats.org/officeDocument/2006/relationships/tags" Target="../tags/tag95.xml"/><Relationship Id="rId6" Type="http://schemas.openxmlformats.org/officeDocument/2006/relationships/chart" Target="../charts/chart203.xml"/><Relationship Id="rId5" Type="http://schemas.openxmlformats.org/officeDocument/2006/relationships/chart" Target="../charts/chart202.xml"/><Relationship Id="rId4" Type="http://schemas.openxmlformats.org/officeDocument/2006/relationships/image" Target="../media/image28.emf"/></Relationships>
</file>

<file path=ppt/slides/_rels/slide6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07.xml"/><Relationship Id="rId2" Type="http://schemas.openxmlformats.org/officeDocument/2006/relationships/slideLayout" Target="../slideLayouts/slideLayout7.xml"/><Relationship Id="rId1" Type="http://schemas.openxmlformats.org/officeDocument/2006/relationships/tags" Target="../tags/tag96.xml"/><Relationship Id="rId6" Type="http://schemas.openxmlformats.org/officeDocument/2006/relationships/chart" Target="../charts/chart206.xml"/><Relationship Id="rId5" Type="http://schemas.openxmlformats.org/officeDocument/2006/relationships/chart" Target="../charts/chart205.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chart" Target="../charts/chart20.xml"/><Relationship Id="rId5" Type="http://schemas.openxmlformats.org/officeDocument/2006/relationships/chart" Target="../charts/chart19.xml"/><Relationship Id="rId4" Type="http://schemas.openxmlformats.org/officeDocument/2006/relationships/image" Target="../media/image28.emf"/></Relationships>
</file>

<file path=ppt/slides/_rels/slide7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0.xml"/><Relationship Id="rId2" Type="http://schemas.openxmlformats.org/officeDocument/2006/relationships/slideLayout" Target="../slideLayouts/slideLayout7.xml"/><Relationship Id="rId1" Type="http://schemas.openxmlformats.org/officeDocument/2006/relationships/tags" Target="../tags/tag97.xml"/><Relationship Id="rId6" Type="http://schemas.openxmlformats.org/officeDocument/2006/relationships/chart" Target="../charts/chart209.xml"/><Relationship Id="rId5" Type="http://schemas.openxmlformats.org/officeDocument/2006/relationships/chart" Target="../charts/chart208.xml"/><Relationship Id="rId4" Type="http://schemas.openxmlformats.org/officeDocument/2006/relationships/image" Target="../media/image28.emf"/></Relationships>
</file>

<file path=ppt/slides/_rels/slide7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3.xml"/><Relationship Id="rId2" Type="http://schemas.openxmlformats.org/officeDocument/2006/relationships/slideLayout" Target="../slideLayouts/slideLayout7.xml"/><Relationship Id="rId1" Type="http://schemas.openxmlformats.org/officeDocument/2006/relationships/tags" Target="../tags/tag98.xml"/><Relationship Id="rId6" Type="http://schemas.openxmlformats.org/officeDocument/2006/relationships/chart" Target="../charts/chart212.xml"/><Relationship Id="rId5" Type="http://schemas.openxmlformats.org/officeDocument/2006/relationships/chart" Target="../charts/chart211.xml"/><Relationship Id="rId4" Type="http://schemas.openxmlformats.org/officeDocument/2006/relationships/image" Target="../media/image28.emf"/></Relationships>
</file>

<file path=ppt/slides/_rels/slide7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6.xml"/><Relationship Id="rId2" Type="http://schemas.openxmlformats.org/officeDocument/2006/relationships/slideLayout" Target="../slideLayouts/slideLayout7.xml"/><Relationship Id="rId1" Type="http://schemas.openxmlformats.org/officeDocument/2006/relationships/tags" Target="../tags/tag99.xml"/><Relationship Id="rId6" Type="http://schemas.openxmlformats.org/officeDocument/2006/relationships/chart" Target="../charts/chart215.xml"/><Relationship Id="rId5" Type="http://schemas.openxmlformats.org/officeDocument/2006/relationships/chart" Target="../charts/chart214.xml"/><Relationship Id="rId4" Type="http://schemas.openxmlformats.org/officeDocument/2006/relationships/image" Target="../media/image28.emf"/></Relationships>
</file>

<file path=ppt/slides/_rels/slide7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9.xml"/><Relationship Id="rId2" Type="http://schemas.openxmlformats.org/officeDocument/2006/relationships/slideLayout" Target="../slideLayouts/slideLayout7.xml"/><Relationship Id="rId1" Type="http://schemas.openxmlformats.org/officeDocument/2006/relationships/tags" Target="../tags/tag100.xml"/><Relationship Id="rId6" Type="http://schemas.openxmlformats.org/officeDocument/2006/relationships/chart" Target="../charts/chart218.xml"/><Relationship Id="rId5" Type="http://schemas.openxmlformats.org/officeDocument/2006/relationships/chart" Target="../charts/chart217.xml"/><Relationship Id="rId4" Type="http://schemas.openxmlformats.org/officeDocument/2006/relationships/image" Target="../media/image28.emf"/></Relationships>
</file>

<file path=ppt/slides/_rels/slide7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22.xml"/><Relationship Id="rId2" Type="http://schemas.openxmlformats.org/officeDocument/2006/relationships/slideLayout" Target="../slideLayouts/slideLayout7.xml"/><Relationship Id="rId1" Type="http://schemas.openxmlformats.org/officeDocument/2006/relationships/tags" Target="../tags/tag101.xml"/><Relationship Id="rId6" Type="http://schemas.openxmlformats.org/officeDocument/2006/relationships/chart" Target="../charts/chart221.xml"/><Relationship Id="rId5" Type="http://schemas.openxmlformats.org/officeDocument/2006/relationships/chart" Target="../charts/chart220.xml"/><Relationship Id="rId4" Type="http://schemas.openxmlformats.org/officeDocument/2006/relationships/image" Target="../media/image28.emf"/></Relationships>
</file>

<file path=ppt/slides/_rels/slide7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25.xml"/><Relationship Id="rId2" Type="http://schemas.openxmlformats.org/officeDocument/2006/relationships/slideLayout" Target="../slideLayouts/slideLayout7.xml"/><Relationship Id="rId1" Type="http://schemas.openxmlformats.org/officeDocument/2006/relationships/tags" Target="../tags/tag102.xml"/><Relationship Id="rId6" Type="http://schemas.openxmlformats.org/officeDocument/2006/relationships/chart" Target="../charts/chart224.xml"/><Relationship Id="rId5" Type="http://schemas.openxmlformats.org/officeDocument/2006/relationships/chart" Target="../charts/chart223.xml"/><Relationship Id="rId4" Type="http://schemas.openxmlformats.org/officeDocument/2006/relationships/image" Target="../media/image28.emf"/></Relationships>
</file>

<file path=ppt/slides/_rels/slide7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28.xml"/><Relationship Id="rId2" Type="http://schemas.openxmlformats.org/officeDocument/2006/relationships/slideLayout" Target="../slideLayouts/slideLayout7.xml"/><Relationship Id="rId1" Type="http://schemas.openxmlformats.org/officeDocument/2006/relationships/tags" Target="../tags/tag103.xml"/><Relationship Id="rId6" Type="http://schemas.openxmlformats.org/officeDocument/2006/relationships/chart" Target="../charts/chart227.xml"/><Relationship Id="rId5" Type="http://schemas.openxmlformats.org/officeDocument/2006/relationships/chart" Target="../charts/chart226.xml"/><Relationship Id="rId4" Type="http://schemas.openxmlformats.org/officeDocument/2006/relationships/image" Target="../media/image28.emf"/></Relationships>
</file>

<file path=ppt/slides/_rels/slide7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31.xml"/><Relationship Id="rId2" Type="http://schemas.openxmlformats.org/officeDocument/2006/relationships/slideLayout" Target="../slideLayouts/slideLayout7.xml"/><Relationship Id="rId1" Type="http://schemas.openxmlformats.org/officeDocument/2006/relationships/tags" Target="../tags/tag104.xml"/><Relationship Id="rId6" Type="http://schemas.openxmlformats.org/officeDocument/2006/relationships/chart" Target="../charts/chart230.xml"/><Relationship Id="rId5" Type="http://schemas.openxmlformats.org/officeDocument/2006/relationships/chart" Target="../charts/chart229.xml"/><Relationship Id="rId4" Type="http://schemas.openxmlformats.org/officeDocument/2006/relationships/image" Target="../media/image28.emf"/></Relationships>
</file>

<file path=ppt/slides/_rels/slide7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34.xml"/><Relationship Id="rId2" Type="http://schemas.openxmlformats.org/officeDocument/2006/relationships/slideLayout" Target="../slideLayouts/slideLayout7.xml"/><Relationship Id="rId1" Type="http://schemas.openxmlformats.org/officeDocument/2006/relationships/tags" Target="../tags/tag105.xml"/><Relationship Id="rId6" Type="http://schemas.openxmlformats.org/officeDocument/2006/relationships/chart" Target="../charts/chart233.xml"/><Relationship Id="rId5" Type="http://schemas.openxmlformats.org/officeDocument/2006/relationships/chart" Target="../charts/chart232.xml"/><Relationship Id="rId4" Type="http://schemas.openxmlformats.org/officeDocument/2006/relationships/image" Target="../media/image28.emf"/></Relationships>
</file>

<file path=ppt/slides/_rels/slide7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37.xml"/><Relationship Id="rId2" Type="http://schemas.openxmlformats.org/officeDocument/2006/relationships/slideLayout" Target="../slideLayouts/slideLayout7.xml"/><Relationship Id="rId1" Type="http://schemas.openxmlformats.org/officeDocument/2006/relationships/tags" Target="../tags/tag106.xml"/><Relationship Id="rId6" Type="http://schemas.openxmlformats.org/officeDocument/2006/relationships/chart" Target="../charts/chart236.xml"/><Relationship Id="rId5" Type="http://schemas.openxmlformats.org/officeDocument/2006/relationships/chart" Target="../charts/chart235.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4.xml"/><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chart" Target="../charts/chart23.xml"/><Relationship Id="rId5" Type="http://schemas.openxmlformats.org/officeDocument/2006/relationships/chart" Target="../charts/chart22.xml"/><Relationship Id="rId4" Type="http://schemas.openxmlformats.org/officeDocument/2006/relationships/image" Target="../media/image28.emf"/></Relationships>
</file>

<file path=ppt/slides/_rels/slide8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40.xml"/><Relationship Id="rId2" Type="http://schemas.openxmlformats.org/officeDocument/2006/relationships/slideLayout" Target="../slideLayouts/slideLayout7.xml"/><Relationship Id="rId1" Type="http://schemas.openxmlformats.org/officeDocument/2006/relationships/tags" Target="../tags/tag107.xml"/><Relationship Id="rId6" Type="http://schemas.openxmlformats.org/officeDocument/2006/relationships/chart" Target="../charts/chart239.xml"/><Relationship Id="rId5" Type="http://schemas.openxmlformats.org/officeDocument/2006/relationships/chart" Target="../charts/chart238.xml"/><Relationship Id="rId4" Type="http://schemas.openxmlformats.org/officeDocument/2006/relationships/image" Target="../media/image28.emf"/></Relationships>
</file>

<file path=ppt/slides/_rels/slide8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43.xml"/><Relationship Id="rId2" Type="http://schemas.openxmlformats.org/officeDocument/2006/relationships/slideLayout" Target="../slideLayouts/slideLayout7.xml"/><Relationship Id="rId1" Type="http://schemas.openxmlformats.org/officeDocument/2006/relationships/tags" Target="../tags/tag108.xml"/><Relationship Id="rId6" Type="http://schemas.openxmlformats.org/officeDocument/2006/relationships/chart" Target="../charts/chart242.xml"/><Relationship Id="rId5" Type="http://schemas.openxmlformats.org/officeDocument/2006/relationships/chart" Target="../charts/chart241.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7.xml"/><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chart" Target="../charts/chart26.xml"/><Relationship Id="rId5" Type="http://schemas.openxmlformats.org/officeDocument/2006/relationships/chart" Target="../charts/chart25.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Total Fromag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192549387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Enfant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51081603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Enfant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25696057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Enfant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97329136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Frais A Tartiner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253948254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Frais A Tartiner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173384278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Frais A Tartiner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404277737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alad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6052029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alad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52625676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alad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289071319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Classiqu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7657059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Total Fromag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429224836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Classiqu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56625085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Classiqu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46528146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Chevr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28405221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Chevr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83948303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Chevr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88122390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Brebis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76476896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Brebis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197026207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Brebis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413970141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Total Fromag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1685471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Total Fromag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119931003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Total Fromag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210795324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Total Fromag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19727883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oft Chees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16619546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oft Chees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60330499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oft Chees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185919962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Aperitif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142870660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Aperitif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83469412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Aperitif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288147333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Enfant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82872683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Enfant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131309993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Enfant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56162247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oft Chees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159370687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Frais A Tartiner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11198130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Frais A Tartiner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7928122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Frais A Tartiner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84567461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alad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7445578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alad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95616352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alad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71715079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Classiqu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35881050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Classiqu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43755771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Classiqu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41152016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Chevr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190019053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oft Chees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65708573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Chevr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118117365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Chevr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31829924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Brebis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161048729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Brebis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287822220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Brebis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164474663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Total Fromag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05024738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Total Fromag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69373786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Total Fromag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18383929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oft Chees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46647153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oft Chees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267621353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oft Chees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198848398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oft Chees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6744118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Aperitif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136535396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Aperitif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227007456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Aperitif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147782241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Enfant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130419967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Enfant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41241139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Enfant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9397752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Frais A Tartiner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199590293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Frais A Tartiner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06137770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Frais A Tartiner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22818845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Aperitif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239797841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alad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822657255"/>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alad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1914990621"/>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alad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269844981"/>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Classiqu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2867102679"/>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Classiqu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1233406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Classiqu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192529490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Chevr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692436191"/>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Chevr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508737244"/>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Chevr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2063552717"/>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Brebis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24526026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Aperitif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2328094438"/>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Brebis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2623213664"/>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Brebis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104768532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Aperitif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25812607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502A1C8-4964-4CAE-93D2-4FFA7871C136}">
  <ds:schemaRefs>
    <ds:schemaRef ds:uri="http://schemas.microsoft.com/sharepoint/v3/contenttype/forms"/>
  </ds:schemaRefs>
</ds:datastoreItem>
</file>

<file path=customXml/itemProps2.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39</TotalTime>
  <Words>7360</Words>
  <Application>Microsoft Office PowerPoint</Application>
  <PresentationFormat>On-screen Show (16:9)</PresentationFormat>
  <Paragraphs>2542</Paragraphs>
  <Slides>81</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81</vt:i4>
      </vt:variant>
    </vt:vector>
  </HeadingPairs>
  <TitlesOfParts>
    <vt:vector size="90" baseType="lpstr">
      <vt:lpstr>Aptos</vt:lpstr>
      <vt:lpstr>Arial</vt:lpstr>
      <vt:lpstr>Nexa</vt:lpstr>
      <vt:lpstr>Nexa Bold</vt:lpstr>
      <vt:lpstr>Nexa Book</vt:lpstr>
      <vt:lpstr>Nexa Book Italic</vt:lpstr>
      <vt:lpstr>Open Sans</vt:lpstr>
      <vt:lpstr>1_PricingOne Light Template Oct 2024</vt:lpstr>
      <vt:lpstr>think-cell Slide</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Aleaa SALAH</cp:lastModifiedBy>
  <cp:revision>77</cp:revision>
  <dcterms:created xsi:type="dcterms:W3CDTF">2024-07-05T11:30:58Z</dcterms:created>
  <dcterms:modified xsi:type="dcterms:W3CDTF">2025-09-14T07:11: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